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931" r:id="rId1"/>
    <p:sldMasterId id="2147483946" r:id="rId2"/>
    <p:sldMasterId id="2147484029" r:id="rId3"/>
    <p:sldMasterId id="2147484035" r:id="rId4"/>
    <p:sldMasterId id="2147484041" r:id="rId5"/>
    <p:sldMasterId id="2147484047" r:id="rId6"/>
  </p:sldMasterIdLst>
  <p:notesMasterIdLst>
    <p:notesMasterId r:id="rId24"/>
  </p:notesMasterIdLst>
  <p:handoutMasterIdLst>
    <p:handoutMasterId r:id="rId25"/>
  </p:handoutMasterIdLst>
  <p:sldIdLst>
    <p:sldId id="470" r:id="rId7"/>
    <p:sldId id="344" r:id="rId8"/>
    <p:sldId id="465" r:id="rId9"/>
    <p:sldId id="461" r:id="rId10"/>
    <p:sldId id="536" r:id="rId11"/>
    <p:sldId id="466" r:id="rId12"/>
    <p:sldId id="537" r:id="rId13"/>
    <p:sldId id="546" r:id="rId14"/>
    <p:sldId id="507" r:id="rId15"/>
    <p:sldId id="566" r:id="rId16"/>
    <p:sldId id="565" r:id="rId17"/>
    <p:sldId id="567" r:id="rId18"/>
    <p:sldId id="569" r:id="rId19"/>
    <p:sldId id="570" r:id="rId20"/>
    <p:sldId id="571" r:id="rId21"/>
    <p:sldId id="572" r:id="rId22"/>
    <p:sldId id="568" r:id="rId23"/>
  </p:sldIdLst>
  <p:sldSz cx="9144000" cy="6858000" type="screen4x3"/>
  <p:notesSz cx="9928225" cy="67976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1pPr>
    <a:lvl2pPr marL="45672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2pPr>
    <a:lvl3pPr marL="91343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3pPr>
    <a:lvl4pPr marL="137014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4pPr>
    <a:lvl5pPr marL="182686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5pPr>
    <a:lvl6pPr marL="2283579" algn="l" defTabSz="913432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6pPr>
    <a:lvl7pPr marL="2740294" algn="l" defTabSz="913432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7pPr>
    <a:lvl8pPr marL="3197010" algn="l" defTabSz="913432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8pPr>
    <a:lvl9pPr marL="3653726" algn="l" defTabSz="913432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C9900"/>
    <a:srgbClr val="FF9900"/>
    <a:srgbClr val="CC0000"/>
    <a:srgbClr val="79AFFF"/>
    <a:srgbClr val="FFFF66"/>
    <a:srgbClr val="1520AB"/>
    <a:srgbClr val="194C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4658" autoAdjust="0"/>
  </p:normalViewPr>
  <p:slideViewPr>
    <p:cSldViewPr snapToGrid="0" snapToObjects="1">
      <p:cViewPr>
        <p:scale>
          <a:sx n="80" d="100"/>
          <a:sy n="80" d="100"/>
        </p:scale>
        <p:origin x="-72" y="-234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5" d="100"/>
          <a:sy n="115" d="100"/>
        </p:scale>
        <p:origin x="-258" y="-102"/>
      </p:cViewPr>
      <p:guideLst>
        <p:guide orient="horz" pos="2141"/>
        <p:guide pos="31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Copy%20of%20IG%20RG%20%25contrib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Z:\FCH%20DMS\ID2\415F070B-0284-41BE-A1EB-A596F8C1DCB5\0\139000-139999\139269\L\L\FCH-JU-Dashboard1%20(ID%20139269).xlsx" TargetMode="External"/><Relationship Id="rId1" Type="http://schemas.openxmlformats.org/officeDocument/2006/relationships/image" Target="../media/image22.jpg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Copy%20of%20IG%20RG%20%25contrib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Copy%20of%20IG%20RG%20%25contrib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Stats%20PRDs2013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Stats%20PRDs2013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Copy%20of%20IG%20RG%20%25contrib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plje\Desktop\Copy%20of%20IG%20RG%20%25contrib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Copy of IG RG %contrib.xlsx]Graphs'!$A$23</c:f>
              <c:strCache>
                <c:ptCount val="1"/>
                <c:pt idx="0">
                  <c:v>Transport</c:v>
                </c:pt>
              </c:strCache>
            </c:strRef>
          </c:tx>
          <c:invertIfNegative val="0"/>
          <c:cat>
            <c:numRef>
              <c:f>'[Copy of IG RG %contrib.xlsx]Graphs'!$B$22:$G$22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[Copy of IG RG %contrib.xlsx]Graphs'!$B$23:$G$23</c:f>
              <c:numCache>
                <c:formatCode>General</c:formatCode>
                <c:ptCount val="6"/>
                <c:pt idx="0">
                  <c:v>9424821</c:v>
                </c:pt>
                <c:pt idx="1">
                  <c:v>30505633</c:v>
                </c:pt>
                <c:pt idx="2">
                  <c:v>33657382</c:v>
                </c:pt>
                <c:pt idx="3">
                  <c:v>34689304</c:v>
                </c:pt>
                <c:pt idx="4">
                  <c:v>22787893</c:v>
                </c:pt>
                <c:pt idx="5">
                  <c:v>22568802</c:v>
                </c:pt>
              </c:numCache>
            </c:numRef>
          </c:val>
        </c:ser>
        <c:ser>
          <c:idx val="1"/>
          <c:order val="1"/>
          <c:tx>
            <c:strRef>
              <c:f>'[Copy of IG RG %contrib.xlsx]Graphs'!$A$24</c:f>
              <c:strCache>
                <c:ptCount val="1"/>
                <c:pt idx="0">
                  <c:v>H2 Production</c:v>
                </c:pt>
              </c:strCache>
            </c:strRef>
          </c:tx>
          <c:invertIfNegative val="0"/>
          <c:cat>
            <c:numRef>
              <c:f>'[Copy of IG RG %contrib.xlsx]Graphs'!$B$22:$G$22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[Copy of IG RG %contrib.xlsx]Graphs'!$B$24:$G$24</c:f>
              <c:numCache>
                <c:formatCode>General</c:formatCode>
                <c:ptCount val="6"/>
                <c:pt idx="0">
                  <c:v>3394684</c:v>
                </c:pt>
                <c:pt idx="1">
                  <c:v>3639203</c:v>
                </c:pt>
                <c:pt idx="2">
                  <c:v>12137804</c:v>
                </c:pt>
                <c:pt idx="3">
                  <c:v>16456444</c:v>
                </c:pt>
                <c:pt idx="4">
                  <c:v>8351364</c:v>
                </c:pt>
                <c:pt idx="5">
                  <c:v>9927533</c:v>
                </c:pt>
              </c:numCache>
            </c:numRef>
          </c:val>
        </c:ser>
        <c:ser>
          <c:idx val="2"/>
          <c:order val="2"/>
          <c:tx>
            <c:strRef>
              <c:f>'[Copy of IG RG %contrib.xlsx]Graphs'!$A$25</c:f>
              <c:strCache>
                <c:ptCount val="1"/>
                <c:pt idx="0">
                  <c:v>Stationary</c:v>
                </c:pt>
              </c:strCache>
            </c:strRef>
          </c:tx>
          <c:invertIfNegative val="0"/>
          <c:cat>
            <c:numRef>
              <c:f>'[Copy of IG RG %contrib.xlsx]Graphs'!$B$22:$G$22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[Copy of IG RG %contrib.xlsx]Graphs'!$B$25:$G$25</c:f>
              <c:numCache>
                <c:formatCode>General</c:formatCode>
                <c:ptCount val="6"/>
                <c:pt idx="0">
                  <c:v>11696619</c:v>
                </c:pt>
                <c:pt idx="1">
                  <c:v>23935872</c:v>
                </c:pt>
                <c:pt idx="2">
                  <c:v>27392473</c:v>
                </c:pt>
                <c:pt idx="3">
                  <c:v>43285349</c:v>
                </c:pt>
                <c:pt idx="4">
                  <c:v>23536717.600000001</c:v>
                </c:pt>
                <c:pt idx="5">
                  <c:v>22399019</c:v>
                </c:pt>
              </c:numCache>
            </c:numRef>
          </c:val>
        </c:ser>
        <c:ser>
          <c:idx val="3"/>
          <c:order val="3"/>
          <c:tx>
            <c:strRef>
              <c:f>'[Copy of IG RG %contrib.xlsx]Graphs'!$A$26</c:f>
              <c:strCache>
                <c:ptCount val="1"/>
                <c:pt idx="0">
                  <c:v>Early Markets</c:v>
                </c:pt>
              </c:strCache>
            </c:strRef>
          </c:tx>
          <c:invertIfNegative val="0"/>
          <c:cat>
            <c:numRef>
              <c:f>'[Copy of IG RG %contrib.xlsx]Graphs'!$B$22:$G$22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[Copy of IG RG %contrib.xlsx]Graphs'!$B$26:$G$26</c:f>
              <c:numCache>
                <c:formatCode>General</c:formatCode>
                <c:ptCount val="6"/>
                <c:pt idx="0">
                  <c:v>2424772</c:v>
                </c:pt>
                <c:pt idx="1">
                  <c:v>12051581</c:v>
                </c:pt>
                <c:pt idx="2">
                  <c:v>9356379</c:v>
                </c:pt>
                <c:pt idx="3">
                  <c:v>18962892</c:v>
                </c:pt>
                <c:pt idx="4">
                  <c:v>7386750</c:v>
                </c:pt>
                <c:pt idx="5">
                  <c:v>2525429</c:v>
                </c:pt>
              </c:numCache>
            </c:numRef>
          </c:val>
        </c:ser>
        <c:ser>
          <c:idx val="4"/>
          <c:order val="4"/>
          <c:tx>
            <c:strRef>
              <c:f>'[Copy of IG RG %contrib.xlsx]Graphs'!$A$27</c:f>
              <c:strCache>
                <c:ptCount val="1"/>
                <c:pt idx="0">
                  <c:v>Cross-cutting</c:v>
                </c:pt>
              </c:strCache>
            </c:strRef>
          </c:tx>
          <c:invertIfNegative val="0"/>
          <c:cat>
            <c:numRef>
              <c:f>'[Copy of IG RG %contrib.xlsx]Graphs'!$B$22:$G$22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[Copy of IG RG %contrib.xlsx]Graphs'!$B$27:$G$27</c:f>
              <c:numCache>
                <c:formatCode>General</c:formatCode>
                <c:ptCount val="6"/>
                <c:pt idx="0">
                  <c:v>257075</c:v>
                </c:pt>
                <c:pt idx="1">
                  <c:v>2365326</c:v>
                </c:pt>
                <c:pt idx="2">
                  <c:v>1132046</c:v>
                </c:pt>
                <c:pt idx="3">
                  <c:v>4103171</c:v>
                </c:pt>
                <c:pt idx="4">
                  <c:v>6072155</c:v>
                </c:pt>
                <c:pt idx="5">
                  <c:v>55173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4042624"/>
        <c:axId val="124052608"/>
      </c:barChart>
      <c:catAx>
        <c:axId val="124042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4052608"/>
        <c:crosses val="autoZero"/>
        <c:auto val="1"/>
        <c:lblAlgn val="ctr"/>
        <c:lblOffset val="100"/>
        <c:noMultiLvlLbl val="0"/>
      </c:catAx>
      <c:valAx>
        <c:axId val="1240526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2404262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033390740980011E-2"/>
          <c:y val="2.5298013136032246E-2"/>
          <c:w val="0.91582183024810815"/>
          <c:h val="0.811256839163761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Z:\FCH DMS\ID2\415F070B-0284-41BE-A1EB-A596F8C1DCB5\0\107000-107999\107378\L\L\[FCH-JU-stats (ID 107378).xlsm]PIVOT country'!$T$5</c:f>
              <c:strCache>
                <c:ptCount val="1"/>
                <c:pt idx="0">
                  <c:v>Call 2008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'Z:\FCH DMS\ID2\415F070B-0284-41BE-A1EB-A596F8C1DCB5\0\107000-107999\107378\L\L\[FCH-JU-stats (ID 107378).xlsm]PIVOT country'!$R$6:$R$35</c:f>
              <c:strCache>
                <c:ptCount val="30"/>
                <c:pt idx="0">
                  <c:v>DE</c:v>
                </c:pt>
                <c:pt idx="1">
                  <c:v>UK</c:v>
                </c:pt>
                <c:pt idx="2">
                  <c:v>IT</c:v>
                </c:pt>
                <c:pt idx="3">
                  <c:v>DK</c:v>
                </c:pt>
                <c:pt idx="4">
                  <c:v>FR</c:v>
                </c:pt>
                <c:pt idx="5">
                  <c:v>BE</c:v>
                </c:pt>
                <c:pt idx="6">
                  <c:v>CH</c:v>
                </c:pt>
                <c:pt idx="7">
                  <c:v>NO</c:v>
                </c:pt>
                <c:pt idx="8">
                  <c:v>NL</c:v>
                </c:pt>
                <c:pt idx="9">
                  <c:v>ES</c:v>
                </c:pt>
                <c:pt idx="10">
                  <c:v>SE</c:v>
                </c:pt>
                <c:pt idx="11">
                  <c:v>FI</c:v>
                </c:pt>
                <c:pt idx="12">
                  <c:v>EL</c:v>
                </c:pt>
                <c:pt idx="13">
                  <c:v>HU</c:v>
                </c:pt>
                <c:pt idx="14">
                  <c:v>AT</c:v>
                </c:pt>
                <c:pt idx="15">
                  <c:v>SI</c:v>
                </c:pt>
                <c:pt idx="16">
                  <c:v>PL</c:v>
                </c:pt>
                <c:pt idx="17">
                  <c:v>PT</c:v>
                </c:pt>
                <c:pt idx="18">
                  <c:v>CZ</c:v>
                </c:pt>
                <c:pt idx="19">
                  <c:v>TR</c:v>
                </c:pt>
                <c:pt idx="20">
                  <c:v>IL</c:v>
                </c:pt>
                <c:pt idx="21">
                  <c:v>RO</c:v>
                </c:pt>
                <c:pt idx="22">
                  <c:v>RS</c:v>
                </c:pt>
                <c:pt idx="23">
                  <c:v>IS</c:v>
                </c:pt>
                <c:pt idx="24">
                  <c:v>CN</c:v>
                </c:pt>
                <c:pt idx="25">
                  <c:v>RU</c:v>
                </c:pt>
                <c:pt idx="26">
                  <c:v>HR</c:v>
                </c:pt>
                <c:pt idx="27">
                  <c:v>US</c:v>
                </c:pt>
                <c:pt idx="28">
                  <c:v>KR</c:v>
                </c:pt>
                <c:pt idx="29">
                  <c:v>CA</c:v>
                </c:pt>
              </c:strCache>
            </c:strRef>
          </c:cat>
          <c:val>
            <c:numRef>
              <c:f>'Z:\FCH DMS\ID2\415F070B-0284-41BE-A1EB-A596F8C1DCB5\0\107000-107999\107378\L\L\[FCH-JU-stats (ID 107378).xlsm]PIVOT country'!$T$6:$T$35</c:f>
              <c:numCache>
                <c:formatCode>General</c:formatCode>
                <c:ptCount val="30"/>
                <c:pt idx="0">
                  <c:v>9.2793448100000013</c:v>
                </c:pt>
                <c:pt idx="1">
                  <c:v>0.17475209</c:v>
                </c:pt>
                <c:pt idx="2">
                  <c:v>2.13477746</c:v>
                </c:pt>
                <c:pt idx="3">
                  <c:v>3.10314931</c:v>
                </c:pt>
                <c:pt idx="4">
                  <c:v>2.3757315999999999</c:v>
                </c:pt>
                <c:pt idx="5">
                  <c:v>7.1141999999999997E-2</c:v>
                </c:pt>
                <c:pt idx="6">
                  <c:v>1.5163126999999998</c:v>
                </c:pt>
                <c:pt idx="7">
                  <c:v>1.0901380000000001</c:v>
                </c:pt>
                <c:pt idx="8">
                  <c:v>0.74109899999999995</c:v>
                </c:pt>
                <c:pt idx="9">
                  <c:v>0.86979799999999996</c:v>
                </c:pt>
                <c:pt idx="10">
                  <c:v>1.2136338</c:v>
                </c:pt>
                <c:pt idx="11">
                  <c:v>1.8545441200000001</c:v>
                </c:pt>
                <c:pt idx="12">
                  <c:v>1.7887569999999999</c:v>
                </c:pt>
                <c:pt idx="13">
                  <c:v>0</c:v>
                </c:pt>
                <c:pt idx="14">
                  <c:v>0.21995100000000001</c:v>
                </c:pt>
                <c:pt idx="15">
                  <c:v>0</c:v>
                </c:pt>
                <c:pt idx="16">
                  <c:v>0.24635854999999998</c:v>
                </c:pt>
                <c:pt idx="17">
                  <c:v>0</c:v>
                </c:pt>
                <c:pt idx="18">
                  <c:v>0.168655</c:v>
                </c:pt>
                <c:pt idx="19">
                  <c:v>0.10660500000000001</c:v>
                </c:pt>
                <c:pt idx="20">
                  <c:v>0</c:v>
                </c:pt>
                <c:pt idx="21">
                  <c:v>0.108335</c:v>
                </c:pt>
                <c:pt idx="22">
                  <c:v>0</c:v>
                </c:pt>
                <c:pt idx="23">
                  <c:v>6.5475000000000005E-2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</c:ser>
        <c:ser>
          <c:idx val="1"/>
          <c:order val="1"/>
          <c:tx>
            <c:strRef>
              <c:f>'Z:\FCH DMS\ID2\415F070B-0284-41BE-A1EB-A596F8C1DCB5\0\107000-107999\107378\L\L\[FCH-JU-stats (ID 107378).xlsm]PIVOT country'!$U$5</c:f>
              <c:strCache>
                <c:ptCount val="1"/>
                <c:pt idx="0">
                  <c:v>Call 2009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Z:\FCH DMS\ID2\415F070B-0284-41BE-A1EB-A596F8C1DCB5\0\107000-107999\107378\L\L\[FCH-JU-stats (ID 107378).xlsm]PIVOT country'!$R$6:$R$35</c:f>
              <c:strCache>
                <c:ptCount val="30"/>
                <c:pt idx="0">
                  <c:v>DE</c:v>
                </c:pt>
                <c:pt idx="1">
                  <c:v>UK</c:v>
                </c:pt>
                <c:pt idx="2">
                  <c:v>IT</c:v>
                </c:pt>
                <c:pt idx="3">
                  <c:v>DK</c:v>
                </c:pt>
                <c:pt idx="4">
                  <c:v>FR</c:v>
                </c:pt>
                <c:pt idx="5">
                  <c:v>BE</c:v>
                </c:pt>
                <c:pt idx="6">
                  <c:v>CH</c:v>
                </c:pt>
                <c:pt idx="7">
                  <c:v>NO</c:v>
                </c:pt>
                <c:pt idx="8">
                  <c:v>NL</c:v>
                </c:pt>
                <c:pt idx="9">
                  <c:v>ES</c:v>
                </c:pt>
                <c:pt idx="10">
                  <c:v>SE</c:v>
                </c:pt>
                <c:pt idx="11">
                  <c:v>FI</c:v>
                </c:pt>
                <c:pt idx="12">
                  <c:v>EL</c:v>
                </c:pt>
                <c:pt idx="13">
                  <c:v>HU</c:v>
                </c:pt>
                <c:pt idx="14">
                  <c:v>AT</c:v>
                </c:pt>
                <c:pt idx="15">
                  <c:v>SI</c:v>
                </c:pt>
                <c:pt idx="16">
                  <c:v>PL</c:v>
                </c:pt>
                <c:pt idx="17">
                  <c:v>PT</c:v>
                </c:pt>
                <c:pt idx="18">
                  <c:v>CZ</c:v>
                </c:pt>
                <c:pt idx="19">
                  <c:v>TR</c:v>
                </c:pt>
                <c:pt idx="20">
                  <c:v>IL</c:v>
                </c:pt>
                <c:pt idx="21">
                  <c:v>RO</c:v>
                </c:pt>
                <c:pt idx="22">
                  <c:v>RS</c:v>
                </c:pt>
                <c:pt idx="23">
                  <c:v>IS</c:v>
                </c:pt>
                <c:pt idx="24">
                  <c:v>CN</c:v>
                </c:pt>
                <c:pt idx="25">
                  <c:v>RU</c:v>
                </c:pt>
                <c:pt idx="26">
                  <c:v>HR</c:v>
                </c:pt>
                <c:pt idx="27">
                  <c:v>US</c:v>
                </c:pt>
                <c:pt idx="28">
                  <c:v>KR</c:v>
                </c:pt>
                <c:pt idx="29">
                  <c:v>CA</c:v>
                </c:pt>
              </c:strCache>
            </c:strRef>
          </c:cat>
          <c:val>
            <c:numRef>
              <c:f>'Z:\FCH DMS\ID2\415F070B-0284-41BE-A1EB-A596F8C1DCB5\0\107000-107999\107378\L\L\[FCH-JU-stats (ID 107378).xlsm]PIVOT country'!$U$6:$U$35</c:f>
              <c:numCache>
                <c:formatCode>General</c:formatCode>
                <c:ptCount val="30"/>
                <c:pt idx="0">
                  <c:v>8.7362439400000014</c:v>
                </c:pt>
                <c:pt idx="1">
                  <c:v>10.545095</c:v>
                </c:pt>
                <c:pt idx="2">
                  <c:v>15.757847029999999</c:v>
                </c:pt>
                <c:pt idx="3">
                  <c:v>5.4910117000000005</c:v>
                </c:pt>
                <c:pt idx="4">
                  <c:v>8.2618332500000005</c:v>
                </c:pt>
                <c:pt idx="5">
                  <c:v>1.2322756000000001</c:v>
                </c:pt>
                <c:pt idx="6">
                  <c:v>8.002153719999999</c:v>
                </c:pt>
                <c:pt idx="7">
                  <c:v>6.7079589999999998</c:v>
                </c:pt>
                <c:pt idx="8">
                  <c:v>2.1831870000000002</c:v>
                </c:pt>
                <c:pt idx="9">
                  <c:v>1.8050999999999999</c:v>
                </c:pt>
                <c:pt idx="10">
                  <c:v>0.27924199999999999</c:v>
                </c:pt>
                <c:pt idx="11">
                  <c:v>1.36990273</c:v>
                </c:pt>
                <c:pt idx="12">
                  <c:v>0.26175300000000001</c:v>
                </c:pt>
                <c:pt idx="13">
                  <c:v>0</c:v>
                </c:pt>
                <c:pt idx="14">
                  <c:v>1.1712581000000002</c:v>
                </c:pt>
                <c:pt idx="15">
                  <c:v>0.1581835</c:v>
                </c:pt>
                <c:pt idx="16">
                  <c:v>0.120806</c:v>
                </c:pt>
                <c:pt idx="17">
                  <c:v>0</c:v>
                </c:pt>
                <c:pt idx="18">
                  <c:v>0</c:v>
                </c:pt>
                <c:pt idx="19">
                  <c:v>0.2356364700000000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.14976</c:v>
                </c:pt>
                <c:pt idx="26">
                  <c:v>2.8015000000000002E-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</c:ser>
        <c:ser>
          <c:idx val="2"/>
          <c:order val="2"/>
          <c:tx>
            <c:strRef>
              <c:f>'Z:\FCH DMS\ID2\415F070B-0284-41BE-A1EB-A596F8C1DCB5\0\107000-107999\107378\L\L\[FCH-JU-stats (ID 107378).xlsm]PIVOT country'!$V$5</c:f>
              <c:strCache>
                <c:ptCount val="1"/>
                <c:pt idx="0">
                  <c:v>Call 2010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'Z:\FCH DMS\ID2\415F070B-0284-41BE-A1EB-A596F8C1DCB5\0\107000-107999\107378\L\L\[FCH-JU-stats (ID 107378).xlsm]PIVOT country'!$R$6:$R$35</c:f>
              <c:strCache>
                <c:ptCount val="30"/>
                <c:pt idx="0">
                  <c:v>DE</c:v>
                </c:pt>
                <c:pt idx="1">
                  <c:v>UK</c:v>
                </c:pt>
                <c:pt idx="2">
                  <c:v>IT</c:v>
                </c:pt>
                <c:pt idx="3">
                  <c:v>DK</c:v>
                </c:pt>
                <c:pt idx="4">
                  <c:v>FR</c:v>
                </c:pt>
                <c:pt idx="5">
                  <c:v>BE</c:v>
                </c:pt>
                <c:pt idx="6">
                  <c:v>CH</c:v>
                </c:pt>
                <c:pt idx="7">
                  <c:v>NO</c:v>
                </c:pt>
                <c:pt idx="8">
                  <c:v>NL</c:v>
                </c:pt>
                <c:pt idx="9">
                  <c:v>ES</c:v>
                </c:pt>
                <c:pt idx="10">
                  <c:v>SE</c:v>
                </c:pt>
                <c:pt idx="11">
                  <c:v>FI</c:v>
                </c:pt>
                <c:pt idx="12">
                  <c:v>EL</c:v>
                </c:pt>
                <c:pt idx="13">
                  <c:v>HU</c:v>
                </c:pt>
                <c:pt idx="14">
                  <c:v>AT</c:v>
                </c:pt>
                <c:pt idx="15">
                  <c:v>SI</c:v>
                </c:pt>
                <c:pt idx="16">
                  <c:v>PL</c:v>
                </c:pt>
                <c:pt idx="17">
                  <c:v>PT</c:v>
                </c:pt>
                <c:pt idx="18">
                  <c:v>CZ</c:v>
                </c:pt>
                <c:pt idx="19">
                  <c:v>TR</c:v>
                </c:pt>
                <c:pt idx="20">
                  <c:v>IL</c:v>
                </c:pt>
                <c:pt idx="21">
                  <c:v>RO</c:v>
                </c:pt>
                <c:pt idx="22">
                  <c:v>RS</c:v>
                </c:pt>
                <c:pt idx="23">
                  <c:v>IS</c:v>
                </c:pt>
                <c:pt idx="24">
                  <c:v>CN</c:v>
                </c:pt>
                <c:pt idx="25">
                  <c:v>RU</c:v>
                </c:pt>
                <c:pt idx="26">
                  <c:v>HR</c:v>
                </c:pt>
                <c:pt idx="27">
                  <c:v>US</c:v>
                </c:pt>
                <c:pt idx="28">
                  <c:v>KR</c:v>
                </c:pt>
                <c:pt idx="29">
                  <c:v>CA</c:v>
                </c:pt>
              </c:strCache>
            </c:strRef>
          </c:cat>
          <c:val>
            <c:numRef>
              <c:f>'Z:\FCH DMS\ID2\415F070B-0284-41BE-A1EB-A596F8C1DCB5\0\107000-107999\107378\L\L\[FCH-JU-stats (ID 107378).xlsm]PIVOT country'!$V$6:$V$35</c:f>
              <c:numCache>
                <c:formatCode>General</c:formatCode>
                <c:ptCount val="30"/>
                <c:pt idx="0">
                  <c:v>11.221952999999999</c:v>
                </c:pt>
                <c:pt idx="1">
                  <c:v>23.977672999999999</c:v>
                </c:pt>
                <c:pt idx="2">
                  <c:v>13.003067</c:v>
                </c:pt>
                <c:pt idx="3">
                  <c:v>7.3816800000000002</c:v>
                </c:pt>
                <c:pt idx="4">
                  <c:v>3.4779939999999998</c:v>
                </c:pt>
                <c:pt idx="5">
                  <c:v>7.4635369999999996</c:v>
                </c:pt>
                <c:pt idx="6">
                  <c:v>1.796943</c:v>
                </c:pt>
                <c:pt idx="7">
                  <c:v>1.2432350000000001</c:v>
                </c:pt>
                <c:pt idx="8">
                  <c:v>3.2781570000000002</c:v>
                </c:pt>
                <c:pt idx="9">
                  <c:v>2.0638169999999998</c:v>
                </c:pt>
                <c:pt idx="10">
                  <c:v>3.3736999999999999</c:v>
                </c:pt>
                <c:pt idx="11">
                  <c:v>0.95783499999999999</c:v>
                </c:pt>
                <c:pt idx="12">
                  <c:v>0.70118199999999997</c:v>
                </c:pt>
                <c:pt idx="13">
                  <c:v>0</c:v>
                </c:pt>
                <c:pt idx="14">
                  <c:v>1.7017640000000001</c:v>
                </c:pt>
                <c:pt idx="15">
                  <c:v>0.48282000000000003</c:v>
                </c:pt>
                <c:pt idx="16">
                  <c:v>0.78261499999999995</c:v>
                </c:pt>
                <c:pt idx="17">
                  <c:v>0.360014</c:v>
                </c:pt>
                <c:pt idx="18">
                  <c:v>0</c:v>
                </c:pt>
                <c:pt idx="19">
                  <c:v>0</c:v>
                </c:pt>
                <c:pt idx="20">
                  <c:v>0.4080980000000000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</c:ser>
        <c:ser>
          <c:idx val="3"/>
          <c:order val="3"/>
          <c:tx>
            <c:strRef>
              <c:f>'Z:\FCH DMS\ID2\415F070B-0284-41BE-A1EB-A596F8C1DCB5\0\107000-107999\107378\L\L\[FCH-JU-stats (ID 107378).xlsm]PIVOT country'!$W$5</c:f>
              <c:strCache>
                <c:ptCount val="1"/>
                <c:pt idx="0">
                  <c:v>Call 2011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'Z:\FCH DMS\ID2\415F070B-0284-41BE-A1EB-A596F8C1DCB5\0\107000-107999\107378\L\L\[FCH-JU-stats (ID 107378).xlsm]PIVOT country'!$R$6:$R$35</c:f>
              <c:strCache>
                <c:ptCount val="30"/>
                <c:pt idx="0">
                  <c:v>DE</c:v>
                </c:pt>
                <c:pt idx="1">
                  <c:v>UK</c:v>
                </c:pt>
                <c:pt idx="2">
                  <c:v>IT</c:v>
                </c:pt>
                <c:pt idx="3">
                  <c:v>DK</c:v>
                </c:pt>
                <c:pt idx="4">
                  <c:v>FR</c:v>
                </c:pt>
                <c:pt idx="5">
                  <c:v>BE</c:v>
                </c:pt>
                <c:pt idx="6">
                  <c:v>CH</c:v>
                </c:pt>
                <c:pt idx="7">
                  <c:v>NO</c:v>
                </c:pt>
                <c:pt idx="8">
                  <c:v>NL</c:v>
                </c:pt>
                <c:pt idx="9">
                  <c:v>ES</c:v>
                </c:pt>
                <c:pt idx="10">
                  <c:v>SE</c:v>
                </c:pt>
                <c:pt idx="11">
                  <c:v>FI</c:v>
                </c:pt>
                <c:pt idx="12">
                  <c:v>EL</c:v>
                </c:pt>
                <c:pt idx="13">
                  <c:v>HU</c:v>
                </c:pt>
                <c:pt idx="14">
                  <c:v>AT</c:v>
                </c:pt>
                <c:pt idx="15">
                  <c:v>SI</c:v>
                </c:pt>
                <c:pt idx="16">
                  <c:v>PL</c:v>
                </c:pt>
                <c:pt idx="17">
                  <c:v>PT</c:v>
                </c:pt>
                <c:pt idx="18">
                  <c:v>CZ</c:v>
                </c:pt>
                <c:pt idx="19">
                  <c:v>TR</c:v>
                </c:pt>
                <c:pt idx="20">
                  <c:v>IL</c:v>
                </c:pt>
                <c:pt idx="21">
                  <c:v>RO</c:v>
                </c:pt>
                <c:pt idx="22">
                  <c:v>RS</c:v>
                </c:pt>
                <c:pt idx="23">
                  <c:v>IS</c:v>
                </c:pt>
                <c:pt idx="24">
                  <c:v>CN</c:v>
                </c:pt>
                <c:pt idx="25">
                  <c:v>RU</c:v>
                </c:pt>
                <c:pt idx="26">
                  <c:v>HR</c:v>
                </c:pt>
                <c:pt idx="27">
                  <c:v>US</c:v>
                </c:pt>
                <c:pt idx="28">
                  <c:v>KR</c:v>
                </c:pt>
                <c:pt idx="29">
                  <c:v>CA</c:v>
                </c:pt>
              </c:strCache>
            </c:strRef>
          </c:cat>
          <c:val>
            <c:numRef>
              <c:f>'Z:\FCH DMS\ID2\415F070B-0284-41BE-A1EB-A596F8C1DCB5\0\107000-107999\107378\L\L\[FCH-JU-stats (ID 107378).xlsm]PIVOT country'!$W$6:$W$35</c:f>
              <c:numCache>
                <c:formatCode>General</c:formatCode>
                <c:ptCount val="30"/>
                <c:pt idx="0">
                  <c:v>34.216600769999992</c:v>
                </c:pt>
                <c:pt idx="1">
                  <c:v>22.413995</c:v>
                </c:pt>
                <c:pt idx="2">
                  <c:v>9.515803</c:v>
                </c:pt>
                <c:pt idx="3">
                  <c:v>11.317072</c:v>
                </c:pt>
                <c:pt idx="4">
                  <c:v>12.988365999999999</c:v>
                </c:pt>
                <c:pt idx="5">
                  <c:v>3.684717</c:v>
                </c:pt>
                <c:pt idx="6">
                  <c:v>4.6683779999999997</c:v>
                </c:pt>
                <c:pt idx="7">
                  <c:v>2.011002</c:v>
                </c:pt>
                <c:pt idx="8">
                  <c:v>4.7637479999999996</c:v>
                </c:pt>
                <c:pt idx="9">
                  <c:v>2.9771339999999999</c:v>
                </c:pt>
                <c:pt idx="10">
                  <c:v>1.567385</c:v>
                </c:pt>
                <c:pt idx="11">
                  <c:v>0.885822</c:v>
                </c:pt>
                <c:pt idx="12">
                  <c:v>1.956725</c:v>
                </c:pt>
                <c:pt idx="13">
                  <c:v>0.74277199999999999</c:v>
                </c:pt>
                <c:pt idx="14">
                  <c:v>0.25318200000000002</c:v>
                </c:pt>
                <c:pt idx="15">
                  <c:v>0.98897299999999999</c:v>
                </c:pt>
                <c:pt idx="16">
                  <c:v>0.44163999999999998</c:v>
                </c:pt>
                <c:pt idx="17">
                  <c:v>0.68916200000000005</c:v>
                </c:pt>
                <c:pt idx="18">
                  <c:v>0.47820600000000002</c:v>
                </c:pt>
                <c:pt idx="19">
                  <c:v>0.22520299999999999</c:v>
                </c:pt>
                <c:pt idx="20">
                  <c:v>0</c:v>
                </c:pt>
                <c:pt idx="21">
                  <c:v>0.115352</c:v>
                </c:pt>
                <c:pt idx="22">
                  <c:v>0.19536799999999999</c:v>
                </c:pt>
                <c:pt idx="23">
                  <c:v>0.10835</c:v>
                </c:pt>
                <c:pt idx="24">
                  <c:v>0.15779000000000001</c:v>
                </c:pt>
                <c:pt idx="25">
                  <c:v>0</c:v>
                </c:pt>
                <c:pt idx="26">
                  <c:v>0</c:v>
                </c:pt>
                <c:pt idx="27">
                  <c:v>6.9977999999999999E-2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</c:ser>
        <c:ser>
          <c:idx val="4"/>
          <c:order val="4"/>
          <c:tx>
            <c:strRef>
              <c:f>'Z:\FCH DMS\ID2\415F070B-0284-41BE-A1EB-A596F8C1DCB5\0\107000-107999\107378\L\L\[FCH-JU-stats (ID 107378).xlsm]PIVOT country'!$X$5</c:f>
              <c:strCache>
                <c:ptCount val="1"/>
                <c:pt idx="0">
                  <c:v>Call 2012</c:v>
                </c:pt>
              </c:strCache>
            </c:strRef>
          </c:tx>
          <c:invertIfNegative val="0"/>
          <c:cat>
            <c:strRef>
              <c:f>'Z:\FCH DMS\ID2\415F070B-0284-41BE-A1EB-A596F8C1DCB5\0\107000-107999\107378\L\L\[FCH-JU-stats (ID 107378).xlsm]PIVOT country'!$R$6:$R$35</c:f>
              <c:strCache>
                <c:ptCount val="30"/>
                <c:pt idx="0">
                  <c:v>DE</c:v>
                </c:pt>
                <c:pt idx="1">
                  <c:v>UK</c:v>
                </c:pt>
                <c:pt idx="2">
                  <c:v>IT</c:v>
                </c:pt>
                <c:pt idx="3">
                  <c:v>DK</c:v>
                </c:pt>
                <c:pt idx="4">
                  <c:v>FR</c:v>
                </c:pt>
                <c:pt idx="5">
                  <c:v>BE</c:v>
                </c:pt>
                <c:pt idx="6">
                  <c:v>CH</c:v>
                </c:pt>
                <c:pt idx="7">
                  <c:v>NO</c:v>
                </c:pt>
                <c:pt idx="8">
                  <c:v>NL</c:v>
                </c:pt>
                <c:pt idx="9">
                  <c:v>ES</c:v>
                </c:pt>
                <c:pt idx="10">
                  <c:v>SE</c:v>
                </c:pt>
                <c:pt idx="11">
                  <c:v>FI</c:v>
                </c:pt>
                <c:pt idx="12">
                  <c:v>EL</c:v>
                </c:pt>
                <c:pt idx="13">
                  <c:v>HU</c:v>
                </c:pt>
                <c:pt idx="14">
                  <c:v>AT</c:v>
                </c:pt>
                <c:pt idx="15">
                  <c:v>SI</c:v>
                </c:pt>
                <c:pt idx="16">
                  <c:v>PL</c:v>
                </c:pt>
                <c:pt idx="17">
                  <c:v>PT</c:v>
                </c:pt>
                <c:pt idx="18">
                  <c:v>CZ</c:v>
                </c:pt>
                <c:pt idx="19">
                  <c:v>TR</c:v>
                </c:pt>
                <c:pt idx="20">
                  <c:v>IL</c:v>
                </c:pt>
                <c:pt idx="21">
                  <c:v>RO</c:v>
                </c:pt>
                <c:pt idx="22">
                  <c:v>RS</c:v>
                </c:pt>
                <c:pt idx="23">
                  <c:v>IS</c:v>
                </c:pt>
                <c:pt idx="24">
                  <c:v>CN</c:v>
                </c:pt>
                <c:pt idx="25">
                  <c:v>RU</c:v>
                </c:pt>
                <c:pt idx="26">
                  <c:v>HR</c:v>
                </c:pt>
                <c:pt idx="27">
                  <c:v>US</c:v>
                </c:pt>
                <c:pt idx="28">
                  <c:v>KR</c:v>
                </c:pt>
                <c:pt idx="29">
                  <c:v>CA</c:v>
                </c:pt>
              </c:strCache>
            </c:strRef>
          </c:cat>
          <c:val>
            <c:numRef>
              <c:f>'Z:\FCH DMS\ID2\415F070B-0284-41BE-A1EB-A596F8C1DCB5\0\107000-107999\107378\L\L\[FCH-JU-stats (ID 107378).xlsm]PIVOT country'!$X$6:$X$35</c:f>
              <c:numCache>
                <c:formatCode>General</c:formatCode>
                <c:ptCount val="30"/>
                <c:pt idx="0">
                  <c:v>19.231780570000002</c:v>
                </c:pt>
                <c:pt idx="1">
                  <c:v>16.6870428</c:v>
                </c:pt>
                <c:pt idx="2">
                  <c:v>5.5067742200000005</c:v>
                </c:pt>
                <c:pt idx="3">
                  <c:v>2.8093727999999998</c:v>
                </c:pt>
                <c:pt idx="4">
                  <c:v>14.440711800000001</c:v>
                </c:pt>
                <c:pt idx="5">
                  <c:v>1.8678456000000001</c:v>
                </c:pt>
                <c:pt idx="6">
                  <c:v>3.4793160200000002</c:v>
                </c:pt>
                <c:pt idx="7">
                  <c:v>1.794281</c:v>
                </c:pt>
                <c:pt idx="8">
                  <c:v>2.4011969999999998</c:v>
                </c:pt>
                <c:pt idx="9">
                  <c:v>2.6515687900000002</c:v>
                </c:pt>
                <c:pt idx="10">
                  <c:v>2.390428</c:v>
                </c:pt>
                <c:pt idx="11">
                  <c:v>1.539121</c:v>
                </c:pt>
                <c:pt idx="12">
                  <c:v>2.3730009999999999</c:v>
                </c:pt>
                <c:pt idx="13">
                  <c:v>0</c:v>
                </c:pt>
                <c:pt idx="14">
                  <c:v>0.84706999999999999</c:v>
                </c:pt>
                <c:pt idx="15">
                  <c:v>0</c:v>
                </c:pt>
                <c:pt idx="16">
                  <c:v>1.1338060000000001</c:v>
                </c:pt>
                <c:pt idx="17">
                  <c:v>0</c:v>
                </c:pt>
                <c:pt idx="18">
                  <c:v>0.96425000000000005</c:v>
                </c:pt>
                <c:pt idx="19">
                  <c:v>0</c:v>
                </c:pt>
                <c:pt idx="20">
                  <c:v>0</c:v>
                </c:pt>
                <c:pt idx="21">
                  <c:v>0.13877999999999999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3614100000000001</c:v>
                </c:pt>
                <c:pt idx="27">
                  <c:v>7.2400000000000006E-2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24265600"/>
        <c:axId val="124267136"/>
      </c:barChart>
      <c:catAx>
        <c:axId val="124265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crossAx val="124267136"/>
        <c:crosses val="autoZero"/>
        <c:auto val="1"/>
        <c:lblAlgn val="ctr"/>
        <c:lblOffset val="100"/>
        <c:noMultiLvlLbl val="0"/>
      </c:catAx>
      <c:valAx>
        <c:axId val="12426713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 sz="1200"/>
                </a:pPr>
                <a:r>
                  <a:rPr lang="nl-BE" sz="1200"/>
                  <a:t>Grants</a:t>
                </a:r>
                <a:r>
                  <a:rPr lang="nl-BE" sz="1200" baseline="0"/>
                  <a:t> in </a:t>
                </a:r>
                <a:br>
                  <a:rPr lang="nl-BE" sz="1200" baseline="0"/>
                </a:br>
                <a:r>
                  <a:rPr lang="nl-BE" sz="1200" baseline="0"/>
                  <a:t>Millions €</a:t>
                </a:r>
                <a:endParaRPr lang="nl-BE" sz="1200"/>
              </a:p>
            </c:rich>
          </c:tx>
          <c:layout>
            <c:manualLayout>
              <c:xMode val="edge"/>
              <c:yMode val="edge"/>
              <c:x val="6.8275996428281513E-2"/>
              <c:y val="2.7041302672986774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24265600"/>
        <c:crosses val="autoZero"/>
        <c:crossBetween val="between"/>
        <c:majorUnit val="2.5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1200" b="1"/>
            </a:pPr>
            <a:endParaRPr lang="en-US"/>
          </a:p>
        </c:txPr>
      </c:dTable>
      <c:spPr>
        <a:blipFill>
          <a:blip xmlns:r="http://schemas.openxmlformats.org/officeDocument/2006/relationships" r:embed="rId1"/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17091519799188615"/>
          <c:y val="4.1788910002296051E-2"/>
          <c:w val="7.1746671577846102E-2"/>
          <c:h val="0.15666509677684853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nl-BE"/>
              <a:t>Categories</a:t>
            </a:r>
            <a:r>
              <a:rPr lang="nl-BE" baseline="0"/>
              <a:t> of participants</a:t>
            </a:r>
            <a:endParaRPr lang="nl-BE"/>
          </a:p>
        </c:rich>
      </c:tx>
      <c:layout/>
      <c:overlay val="0"/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Graphs!$A$2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cat>
            <c:numRef>
              <c:f>Graphs!$B$1:$F$1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2:$F$2</c:f>
              <c:numCache>
                <c:formatCode>General</c:formatCode>
                <c:ptCount val="5"/>
                <c:pt idx="0">
                  <c:v>57</c:v>
                </c:pt>
                <c:pt idx="1">
                  <c:v>64</c:v>
                </c:pt>
                <c:pt idx="2">
                  <c:v>63</c:v>
                </c:pt>
                <c:pt idx="3">
                  <c:v>66</c:v>
                </c:pt>
                <c:pt idx="4">
                  <c:v>64</c:v>
                </c:pt>
              </c:numCache>
            </c:numRef>
          </c:val>
        </c:ser>
        <c:ser>
          <c:idx val="1"/>
          <c:order val="1"/>
          <c:tx>
            <c:strRef>
              <c:f>Graphs!$A$3</c:f>
              <c:strCache>
                <c:ptCount val="1"/>
                <c:pt idx="0">
                  <c:v>IG</c:v>
                </c:pt>
              </c:strCache>
            </c:strRef>
          </c:tx>
          <c:invertIfNegative val="0"/>
          <c:cat>
            <c:numRef>
              <c:f>Graphs!$B$1:$F$1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3:$F$3</c:f>
              <c:numCache>
                <c:formatCode>General</c:formatCode>
                <c:ptCount val="5"/>
                <c:pt idx="0">
                  <c:v>16</c:v>
                </c:pt>
                <c:pt idx="1">
                  <c:v>15</c:v>
                </c:pt>
                <c:pt idx="2">
                  <c:v>17</c:v>
                </c:pt>
                <c:pt idx="3">
                  <c:v>13</c:v>
                </c:pt>
                <c:pt idx="4">
                  <c:v>15</c:v>
                </c:pt>
              </c:numCache>
            </c:numRef>
          </c:val>
        </c:ser>
        <c:ser>
          <c:idx val="2"/>
          <c:order val="2"/>
          <c:tx>
            <c:strRef>
              <c:f>Graphs!$A$4</c:f>
              <c:strCache>
                <c:ptCount val="1"/>
                <c:pt idx="0">
                  <c:v>RG</c:v>
                </c:pt>
              </c:strCache>
            </c:strRef>
          </c:tx>
          <c:invertIfNegative val="0"/>
          <c:cat>
            <c:numRef>
              <c:f>Graphs!$B$1:$F$1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4:$F$4</c:f>
              <c:numCache>
                <c:formatCode>General</c:formatCode>
                <c:ptCount val="5"/>
                <c:pt idx="0">
                  <c:v>27</c:v>
                </c:pt>
                <c:pt idx="1">
                  <c:v>21</c:v>
                </c:pt>
                <c:pt idx="2">
                  <c:v>20</c:v>
                </c:pt>
                <c:pt idx="3">
                  <c:v>21</c:v>
                </c:pt>
                <c:pt idx="4">
                  <c:v>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24318848"/>
        <c:axId val="124320384"/>
      </c:barChart>
      <c:catAx>
        <c:axId val="124318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24320384"/>
        <c:crosses val="autoZero"/>
        <c:auto val="1"/>
        <c:lblAlgn val="ctr"/>
        <c:lblOffset val="100"/>
        <c:noMultiLvlLbl val="0"/>
      </c:catAx>
      <c:valAx>
        <c:axId val="124320384"/>
        <c:scaling>
          <c:orientation val="minMax"/>
        </c:scaling>
        <c:delete val="0"/>
        <c:axPos val="l"/>
        <c:majorGridlines/>
        <c:numFmt formatCode="0%" sourceLinked="1"/>
        <c:majorTickMark val="none"/>
        <c:minorTickMark val="none"/>
        <c:tickLblPos val="nextTo"/>
        <c:crossAx val="12431884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nl-BE" sz="1600"/>
              <a:t>Funding received per participant category</a:t>
            </a:r>
          </a:p>
        </c:rich>
      </c:tx>
      <c:layout/>
      <c:overlay val="0"/>
      <c:spPr>
        <a:solidFill>
          <a:srgbClr val="FFFFFF"/>
        </a:solidFill>
      </c:sp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Graphs!$A$7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cat>
            <c:numRef>
              <c:f>Graphs!$B$6:$F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7:$F$7</c:f>
              <c:numCache>
                <c:formatCode>General</c:formatCode>
                <c:ptCount val="5"/>
                <c:pt idx="0">
                  <c:v>38</c:v>
                </c:pt>
                <c:pt idx="1">
                  <c:v>69</c:v>
                </c:pt>
                <c:pt idx="2">
                  <c:v>61</c:v>
                </c:pt>
                <c:pt idx="3">
                  <c:v>61</c:v>
                </c:pt>
                <c:pt idx="4">
                  <c:v>52</c:v>
                </c:pt>
              </c:numCache>
            </c:numRef>
          </c:val>
        </c:ser>
        <c:ser>
          <c:idx val="1"/>
          <c:order val="1"/>
          <c:tx>
            <c:strRef>
              <c:f>Graphs!$A$8</c:f>
              <c:strCache>
                <c:ptCount val="1"/>
                <c:pt idx="0">
                  <c:v>IG</c:v>
                </c:pt>
              </c:strCache>
            </c:strRef>
          </c:tx>
          <c:invertIfNegative val="0"/>
          <c:cat>
            <c:numRef>
              <c:f>Graphs!$B$6:$F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8:$F$8</c:f>
              <c:numCache>
                <c:formatCode>General</c:formatCode>
                <c:ptCount val="5"/>
                <c:pt idx="0">
                  <c:v>33</c:v>
                </c:pt>
                <c:pt idx="1">
                  <c:v>14</c:v>
                </c:pt>
                <c:pt idx="2">
                  <c:v>24</c:v>
                </c:pt>
                <c:pt idx="3">
                  <c:v>21</c:v>
                </c:pt>
                <c:pt idx="4">
                  <c:v>22</c:v>
                </c:pt>
              </c:numCache>
            </c:numRef>
          </c:val>
        </c:ser>
        <c:ser>
          <c:idx val="2"/>
          <c:order val="2"/>
          <c:tx>
            <c:strRef>
              <c:f>Graphs!$A$9</c:f>
              <c:strCache>
                <c:ptCount val="1"/>
                <c:pt idx="0">
                  <c:v>RG</c:v>
                </c:pt>
              </c:strCache>
            </c:strRef>
          </c:tx>
          <c:invertIfNegative val="0"/>
          <c:cat>
            <c:numRef>
              <c:f>Graphs!$B$6:$F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9:$F$9</c:f>
              <c:numCache>
                <c:formatCode>General</c:formatCode>
                <c:ptCount val="5"/>
                <c:pt idx="0">
                  <c:v>29</c:v>
                </c:pt>
                <c:pt idx="1">
                  <c:v>17</c:v>
                </c:pt>
                <c:pt idx="2">
                  <c:v>15</c:v>
                </c:pt>
                <c:pt idx="3">
                  <c:v>18</c:v>
                </c:pt>
                <c:pt idx="4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24338560"/>
        <c:axId val="124340096"/>
      </c:barChart>
      <c:catAx>
        <c:axId val="124338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24340096"/>
        <c:crosses val="autoZero"/>
        <c:auto val="1"/>
        <c:lblAlgn val="ctr"/>
        <c:lblOffset val="100"/>
        <c:noMultiLvlLbl val="0"/>
      </c:catAx>
      <c:valAx>
        <c:axId val="124340096"/>
        <c:scaling>
          <c:orientation val="minMax"/>
        </c:scaling>
        <c:delete val="0"/>
        <c:axPos val="l"/>
        <c:majorGridlines/>
        <c:numFmt formatCode="0%" sourceLinked="1"/>
        <c:majorTickMark val="none"/>
        <c:minorTickMark val="none"/>
        <c:tickLblPos val="nextTo"/>
        <c:crossAx val="12433856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Data from CORDA_updated'!$B$1283</c:f>
              <c:strCache>
                <c:ptCount val="1"/>
                <c:pt idx="0">
                  <c:v>Large industry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numRef>
              <c:f>'Data from CORDA_updated'!$A$1284:$A$128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B$1284:$B$1289</c:f>
              <c:numCache>
                <c:formatCode>General</c:formatCode>
                <c:ptCount val="6"/>
                <c:pt idx="0">
                  <c:v>7.4319314799999994</c:v>
                </c:pt>
                <c:pt idx="1">
                  <c:v>36.724708939999999</c:v>
                </c:pt>
                <c:pt idx="2">
                  <c:v>29.441511999999999</c:v>
                </c:pt>
                <c:pt idx="3">
                  <c:v>38.596280999999998</c:v>
                </c:pt>
                <c:pt idx="4">
                  <c:v>19.340057170000001</c:v>
                </c:pt>
                <c:pt idx="5">
                  <c:v>18.416519999999998</c:v>
                </c:pt>
              </c:numCache>
            </c:numRef>
          </c:val>
        </c:ser>
        <c:ser>
          <c:idx val="1"/>
          <c:order val="1"/>
          <c:tx>
            <c:strRef>
              <c:f>'Data from CORDA_updated'!$C$1283</c:f>
              <c:strCache>
                <c:ptCount val="1"/>
                <c:pt idx="0">
                  <c:v>SME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numRef>
              <c:f>'Data from CORDA_updated'!$A$1284:$A$128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C$1284:$C$1289</c:f>
              <c:numCache>
                <c:formatCode>General</c:formatCode>
                <c:ptCount val="6"/>
                <c:pt idx="0">
                  <c:v>7.0605593899999999</c:v>
                </c:pt>
                <c:pt idx="1">
                  <c:v>13.311910559999999</c:v>
                </c:pt>
                <c:pt idx="2">
                  <c:v>20.985218</c:v>
                </c:pt>
                <c:pt idx="3">
                  <c:v>37.048197769999994</c:v>
                </c:pt>
                <c:pt idx="4">
                  <c:v>18.542086250000001</c:v>
                </c:pt>
                <c:pt idx="5">
                  <c:v>21.435171</c:v>
                </c:pt>
              </c:numCache>
            </c:numRef>
          </c:val>
        </c:ser>
        <c:ser>
          <c:idx val="2"/>
          <c:order val="2"/>
          <c:tx>
            <c:strRef>
              <c:f>'Data from CORDA_updated'!$D$1283</c:f>
              <c:strCache>
                <c:ptCount val="1"/>
                <c:pt idx="0">
                  <c:v>Research organizations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numRef>
              <c:f>'Data from CORDA_updated'!$A$1284:$A$128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D$1284:$D$1289</c:f>
              <c:numCache>
                <c:formatCode>General</c:formatCode>
                <c:ptCount val="6"/>
                <c:pt idx="0">
                  <c:v>10.430372820000001</c:v>
                </c:pt>
                <c:pt idx="1">
                  <c:v>19.1191022</c:v>
                </c:pt>
                <c:pt idx="2">
                  <c:v>18.674925999999999</c:v>
                </c:pt>
                <c:pt idx="3">
                  <c:v>33.136251000000001</c:v>
                </c:pt>
                <c:pt idx="4">
                  <c:v>27.819623220000004</c:v>
                </c:pt>
                <c:pt idx="5">
                  <c:v>27.223362000000002</c:v>
                </c:pt>
              </c:numCache>
            </c:numRef>
          </c:val>
        </c:ser>
        <c:ser>
          <c:idx val="3"/>
          <c:order val="3"/>
          <c:tx>
            <c:strRef>
              <c:f>'Data from CORDA_updated'!$E$128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numRef>
              <c:f>'Data from CORDA_updated'!$A$1284:$A$128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E$1284:$E$1289</c:f>
              <c:numCache>
                <c:formatCode>General</c:formatCode>
                <c:ptCount val="6"/>
                <c:pt idx="0">
                  <c:v>2.2056957499999967</c:v>
                </c:pt>
                <c:pt idx="1">
                  <c:v>3.341541339999992</c:v>
                </c:pt>
                <c:pt idx="2">
                  <c:v>10.572899000000007</c:v>
                </c:pt>
                <c:pt idx="3">
                  <c:v>8.651994000000002</c:v>
                </c:pt>
                <c:pt idx="4">
                  <c:v>2.7791910100000052</c:v>
                </c:pt>
                <c:pt idx="5">
                  <c:v>3.61053800000000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4715392"/>
        <c:axId val="124716928"/>
      </c:barChart>
      <c:catAx>
        <c:axId val="124715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4716928"/>
        <c:crosses val="autoZero"/>
        <c:auto val="1"/>
        <c:lblAlgn val="ctr"/>
        <c:lblOffset val="100"/>
        <c:noMultiLvlLbl val="0"/>
      </c:catAx>
      <c:valAx>
        <c:axId val="12471692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2471539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Data from CORDA_updated'!$B$1313</c:f>
              <c:strCache>
                <c:ptCount val="1"/>
                <c:pt idx="0">
                  <c:v>Large industry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ymbol val="none"/>
          </c:marker>
          <c:cat>
            <c:numRef>
              <c:f>'Data from CORDA_updated'!$A$1314:$A$131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B$1314:$B$1319</c:f>
              <c:numCache>
                <c:formatCode>0.0%</c:formatCode>
                <c:ptCount val="6"/>
                <c:pt idx="0">
                  <c:v>0.27395230832057776</c:v>
                </c:pt>
                <c:pt idx="1">
                  <c:v>0.50656683300909344</c:v>
                </c:pt>
                <c:pt idx="2">
                  <c:v>0.36952213915722532</c:v>
                </c:pt>
                <c:pt idx="3">
                  <c:v>0.32866717011174373</c:v>
                </c:pt>
                <c:pt idx="4">
                  <c:v>0.28241510974255479</c:v>
                </c:pt>
                <c:pt idx="5">
                  <c:v>0.2605413598366886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from CORDA_updated'!$C$1313</c:f>
              <c:strCache>
                <c:ptCount val="1"/>
                <c:pt idx="0">
                  <c:v>SME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Data from CORDA_updated'!$A$1314:$A$131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C$1314:$C$1319</c:f>
              <c:numCache>
                <c:formatCode>0.0%</c:formatCode>
                <c:ptCount val="6"/>
                <c:pt idx="0">
                  <c:v>0.26026296772653112</c:v>
                </c:pt>
                <c:pt idx="1">
                  <c:v>0.18361949129935046</c:v>
                </c:pt>
                <c:pt idx="2">
                  <c:v>0.26338669855137564</c:v>
                </c:pt>
                <c:pt idx="3">
                  <c:v>0.31548444573730078</c:v>
                </c:pt>
                <c:pt idx="4">
                  <c:v>0.2707626599611373</c:v>
                </c:pt>
                <c:pt idx="5">
                  <c:v>0.3032466829059970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Data from CORDA_updated'!$D$1313</c:f>
              <c:strCache>
                <c:ptCount val="1"/>
                <c:pt idx="0">
                  <c:v>Research organizations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Data from CORDA_updated'!$A$1314:$A$131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D$1314:$D$1319</c:f>
              <c:numCache>
                <c:formatCode>0.0%</c:formatCode>
                <c:ptCount val="6"/>
                <c:pt idx="0">
                  <c:v>0.38447942077679309</c:v>
                </c:pt>
                <c:pt idx="1">
                  <c:v>0.26372171028651292</c:v>
                </c:pt>
                <c:pt idx="2">
                  <c:v>0.23439008852951862</c:v>
                </c:pt>
                <c:pt idx="3">
                  <c:v>0.2821722083607599</c:v>
                </c:pt>
                <c:pt idx="4">
                  <c:v>0.40623881695965147</c:v>
                </c:pt>
                <c:pt idx="5">
                  <c:v>0.38513311715820558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Data from CORDA_updated'!$E$1313</c:f>
              <c:strCache>
                <c:ptCount val="1"/>
                <c:pt idx="0">
                  <c:v>Other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Data from CORDA_updated'!$A$1314:$A$1319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'Data from CORDA_updated'!$E$1314:$E$1319</c:f>
              <c:numCache>
                <c:formatCode>0.0%</c:formatCode>
                <c:ptCount val="6"/>
                <c:pt idx="0">
                  <c:v>8.1305303176098062E-2</c:v>
                </c:pt>
                <c:pt idx="1">
                  <c:v>4.6091965405043137E-2</c:v>
                </c:pt>
                <c:pt idx="2">
                  <c:v>0.13270107376188053</c:v>
                </c:pt>
                <c:pt idx="3">
                  <c:v>7.3676175790195614E-2</c:v>
                </c:pt>
                <c:pt idx="4">
                  <c:v>4.0583413336656285E-2</c:v>
                </c:pt>
                <c:pt idx="5">
                  <c:v>5.107884009910881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743680"/>
        <c:axId val="124745216"/>
      </c:lineChart>
      <c:catAx>
        <c:axId val="124743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4745216"/>
        <c:crosses val="autoZero"/>
        <c:auto val="1"/>
        <c:lblAlgn val="ctr"/>
        <c:lblOffset val="100"/>
        <c:noMultiLvlLbl val="0"/>
      </c:catAx>
      <c:valAx>
        <c:axId val="12474521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12474368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nl-BE"/>
              <a:t>Origin of the participants</a:t>
            </a:r>
          </a:p>
        </c:rich>
      </c:tx>
      <c:layout/>
      <c:overlay val="0"/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Graphs!$A$12</c:f>
              <c:strCache>
                <c:ptCount val="1"/>
                <c:pt idx="0">
                  <c:v>EU28</c:v>
                </c:pt>
              </c:strCache>
            </c:strRef>
          </c:tx>
          <c:invertIfNegative val="0"/>
          <c:cat>
            <c:numRef>
              <c:f>Graphs!$B$11:$F$11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12:$F$12</c:f>
              <c:numCache>
                <c:formatCode>General</c:formatCode>
                <c:ptCount val="5"/>
                <c:pt idx="0">
                  <c:v>88</c:v>
                </c:pt>
                <c:pt idx="1">
                  <c:v>88</c:v>
                </c:pt>
                <c:pt idx="2">
                  <c:v>93</c:v>
                </c:pt>
                <c:pt idx="3">
                  <c:v>94</c:v>
                </c:pt>
                <c:pt idx="4">
                  <c:v>92</c:v>
                </c:pt>
              </c:numCache>
            </c:numRef>
          </c:val>
        </c:ser>
        <c:ser>
          <c:idx val="1"/>
          <c:order val="1"/>
          <c:tx>
            <c:strRef>
              <c:f>Graphs!$A$13</c:f>
              <c:strCache>
                <c:ptCount val="1"/>
                <c:pt idx="0">
                  <c:v>Associated</c:v>
                </c:pt>
              </c:strCache>
            </c:strRef>
          </c:tx>
          <c:invertIfNegative val="0"/>
          <c:cat>
            <c:numRef>
              <c:f>Graphs!$B$11:$F$11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13:$F$13</c:f>
              <c:numCache>
                <c:formatCode>General</c:formatCode>
                <c:ptCount val="5"/>
                <c:pt idx="0">
                  <c:v>12</c:v>
                </c:pt>
                <c:pt idx="1">
                  <c:v>11</c:v>
                </c:pt>
                <c:pt idx="2">
                  <c:v>6</c:v>
                </c:pt>
                <c:pt idx="3">
                  <c:v>5</c:v>
                </c:pt>
                <c:pt idx="4">
                  <c:v>8</c:v>
                </c:pt>
              </c:numCache>
            </c:numRef>
          </c:val>
        </c:ser>
        <c:ser>
          <c:idx val="2"/>
          <c:order val="2"/>
          <c:tx>
            <c:strRef>
              <c:f>Graphs!$A$14</c:f>
              <c:strCache>
                <c:ptCount val="1"/>
                <c:pt idx="0">
                  <c:v>Third Country</c:v>
                </c:pt>
              </c:strCache>
            </c:strRef>
          </c:tx>
          <c:invertIfNegative val="0"/>
          <c:cat>
            <c:numRef>
              <c:f>Graphs!$B$11:$F$11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14:$F$14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24793984"/>
        <c:axId val="124795520"/>
      </c:barChart>
      <c:catAx>
        <c:axId val="12479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24795520"/>
        <c:crosses val="autoZero"/>
        <c:auto val="1"/>
        <c:lblAlgn val="ctr"/>
        <c:lblOffset val="100"/>
        <c:noMultiLvlLbl val="0"/>
      </c:catAx>
      <c:valAx>
        <c:axId val="124795520"/>
        <c:scaling>
          <c:orientation val="minMax"/>
          <c:min val="0"/>
        </c:scaling>
        <c:delete val="0"/>
        <c:axPos val="l"/>
        <c:majorGridlines/>
        <c:numFmt formatCode="0%" sourceLinked="1"/>
        <c:majorTickMark val="none"/>
        <c:minorTickMark val="none"/>
        <c:tickLblPos val="nextTo"/>
        <c:crossAx val="12479398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nl-BE" sz="1600"/>
              <a:t>Funding received per participants'</a:t>
            </a:r>
            <a:r>
              <a:rPr lang="nl-BE" sz="1600" baseline="0"/>
              <a:t> </a:t>
            </a:r>
            <a:r>
              <a:rPr lang="nl-BE" sz="1600"/>
              <a:t>origin</a:t>
            </a:r>
          </a:p>
        </c:rich>
      </c:tx>
      <c:layout/>
      <c:overlay val="0"/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Graphs!$A$17</c:f>
              <c:strCache>
                <c:ptCount val="1"/>
                <c:pt idx="0">
                  <c:v>EU28</c:v>
                </c:pt>
              </c:strCache>
            </c:strRef>
          </c:tx>
          <c:invertIfNegative val="0"/>
          <c:cat>
            <c:numRef>
              <c:f>Graphs!$B$16:$F$1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17:$F$17</c:f>
              <c:numCache>
                <c:formatCode>General</c:formatCode>
                <c:ptCount val="5"/>
                <c:pt idx="0">
                  <c:v>90</c:v>
                </c:pt>
                <c:pt idx="1">
                  <c:v>79</c:v>
                </c:pt>
                <c:pt idx="2">
                  <c:v>96</c:v>
                </c:pt>
                <c:pt idx="3">
                  <c:v>96</c:v>
                </c:pt>
                <c:pt idx="4">
                  <c:v>93</c:v>
                </c:pt>
              </c:numCache>
            </c:numRef>
          </c:val>
        </c:ser>
        <c:ser>
          <c:idx val="1"/>
          <c:order val="1"/>
          <c:tx>
            <c:strRef>
              <c:f>Graphs!$A$18</c:f>
              <c:strCache>
                <c:ptCount val="1"/>
                <c:pt idx="0">
                  <c:v>Associated</c:v>
                </c:pt>
              </c:strCache>
            </c:strRef>
          </c:tx>
          <c:invertIfNegative val="0"/>
          <c:cat>
            <c:numRef>
              <c:f>Graphs!$B$16:$F$1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18:$F$18</c:f>
              <c:numCache>
                <c:formatCode>General</c:formatCode>
                <c:ptCount val="5"/>
                <c:pt idx="0">
                  <c:v>10</c:v>
                </c:pt>
                <c:pt idx="1">
                  <c:v>21</c:v>
                </c:pt>
                <c:pt idx="2">
                  <c:v>4</c:v>
                </c:pt>
                <c:pt idx="3">
                  <c:v>4</c:v>
                </c:pt>
                <c:pt idx="4">
                  <c:v>7</c:v>
                </c:pt>
              </c:numCache>
            </c:numRef>
          </c:val>
        </c:ser>
        <c:ser>
          <c:idx val="2"/>
          <c:order val="2"/>
          <c:tx>
            <c:strRef>
              <c:f>Graphs!$A$19</c:f>
              <c:strCache>
                <c:ptCount val="1"/>
                <c:pt idx="0">
                  <c:v>Thrid Country</c:v>
                </c:pt>
              </c:strCache>
            </c:strRef>
          </c:tx>
          <c:invertIfNegative val="0"/>
          <c:cat>
            <c:numRef>
              <c:f>Graphs!$B$16:$F$1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Graphs!$B$19:$F$19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24838272"/>
        <c:axId val="124839808"/>
      </c:barChart>
      <c:catAx>
        <c:axId val="124838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24839808"/>
        <c:crosses val="autoZero"/>
        <c:auto val="1"/>
        <c:lblAlgn val="ctr"/>
        <c:lblOffset val="100"/>
        <c:noMultiLvlLbl val="0"/>
      </c:catAx>
      <c:valAx>
        <c:axId val="124839808"/>
        <c:scaling>
          <c:orientation val="minMax"/>
        </c:scaling>
        <c:delete val="0"/>
        <c:axPos val="l"/>
        <c:majorGridlines/>
        <c:numFmt formatCode="0%" sourceLinked="1"/>
        <c:majorTickMark val="none"/>
        <c:minorTickMark val="none"/>
        <c:tickLblPos val="nextTo"/>
        <c:crossAx val="12483827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27A839-72DC-4E53-A23C-A36533FE26C9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1673A9-7D9A-4C79-B8E4-A5570BD3306E}">
      <dgm:prSet phldrT="[Text]"/>
      <dgm:spPr/>
      <dgm:t>
        <a:bodyPr/>
        <a:lstStyle/>
        <a:p>
          <a:r>
            <a:rPr lang="en-US" dirty="0" smtClean="0">
              <a:solidFill>
                <a:schemeClr val="accent1">
                  <a:lumMod val="75000"/>
                </a:schemeClr>
              </a:solidFill>
            </a:rPr>
            <a:t>SET plan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AD95D229-E9C1-4776-A948-3389B8327D5E}" type="parTrans" cxnId="{FA30A005-BCC2-43CE-A2D4-C45DBA1B21EA}">
      <dgm:prSet/>
      <dgm:spPr/>
      <dgm:t>
        <a:bodyPr/>
        <a:lstStyle/>
        <a:p>
          <a:endParaRPr lang="en-US"/>
        </a:p>
      </dgm:t>
    </dgm:pt>
    <dgm:pt modelId="{BA1F3763-0582-4CA5-93FF-6AC6CB1D5FC3}" type="sibTrans" cxnId="{FA30A005-BCC2-43CE-A2D4-C45DBA1B21EA}">
      <dgm:prSet/>
      <dgm:spPr/>
      <dgm:t>
        <a:bodyPr/>
        <a:lstStyle/>
        <a:p>
          <a:endParaRPr lang="en-US"/>
        </a:p>
      </dgm:t>
    </dgm:pt>
    <dgm:pt modelId="{EDD9A305-3C38-4B25-B318-ECE02D1092AD}">
      <dgm:prSet phldrT="[Text]" custT="1"/>
      <dgm:spPr/>
      <dgm:t>
        <a:bodyPr/>
        <a:lstStyle/>
        <a:p>
          <a:r>
            <a:rPr lang="en-US" sz="1600" dirty="0" smtClean="0">
              <a:latin typeface="Arial Narrow" pitchFamily="34" charset="0"/>
            </a:rPr>
            <a:t>The European Industrial </a:t>
          </a:r>
          <a:r>
            <a:rPr lang="en-US" sz="1600" dirty="0" err="1" smtClean="0">
              <a:latin typeface="Arial Narrow" pitchFamily="34" charset="0"/>
            </a:rPr>
            <a:t>Bioenergy</a:t>
          </a:r>
          <a:r>
            <a:rPr lang="en-US" sz="1600" dirty="0" smtClean="0">
              <a:latin typeface="Arial Narrow" pitchFamily="34" charset="0"/>
            </a:rPr>
            <a:t> Initiative</a:t>
          </a:r>
          <a:endParaRPr lang="en-US" sz="1600" dirty="0">
            <a:latin typeface="Arial Narrow" pitchFamily="34" charset="0"/>
          </a:endParaRPr>
        </a:p>
      </dgm:t>
    </dgm:pt>
    <dgm:pt modelId="{232E1475-FD0A-4FA0-9891-514C1694214B}" type="parTrans" cxnId="{21CFF61B-C285-430B-BADC-F194151E93A0}">
      <dgm:prSet/>
      <dgm:spPr/>
      <dgm:t>
        <a:bodyPr/>
        <a:lstStyle/>
        <a:p>
          <a:endParaRPr lang="en-US"/>
        </a:p>
      </dgm:t>
    </dgm:pt>
    <dgm:pt modelId="{B2482529-F1E2-4D13-A521-41394CD00961}" type="sibTrans" cxnId="{21CFF61B-C285-430B-BADC-F194151E93A0}">
      <dgm:prSet/>
      <dgm:spPr/>
      <dgm:t>
        <a:bodyPr/>
        <a:lstStyle/>
        <a:p>
          <a:endParaRPr lang="en-US"/>
        </a:p>
      </dgm:t>
    </dgm:pt>
    <dgm:pt modelId="{D2CFA8EE-62A7-4404-B725-BFB5B9376B06}">
      <dgm:prSet phldrT="[Text]" custT="1"/>
      <dgm:spPr/>
      <dgm:t>
        <a:bodyPr/>
        <a:lstStyle/>
        <a:p>
          <a:r>
            <a:rPr lang="en-US" sz="1600" dirty="0" smtClean="0">
              <a:latin typeface="Arial Narrow" pitchFamily="34" charset="0"/>
            </a:rPr>
            <a:t>The European CO2 Capture, Transport and Storage Initiative</a:t>
          </a:r>
          <a:endParaRPr lang="en-US" sz="1600" dirty="0">
            <a:latin typeface="Arial Narrow" pitchFamily="34" charset="0"/>
          </a:endParaRPr>
        </a:p>
      </dgm:t>
    </dgm:pt>
    <dgm:pt modelId="{D9277612-7AF8-4E74-9741-9A46E268A547}" type="parTrans" cxnId="{0BC7F1CE-5CE8-4424-9E6E-6486A82BE87F}">
      <dgm:prSet/>
      <dgm:spPr/>
      <dgm:t>
        <a:bodyPr/>
        <a:lstStyle/>
        <a:p>
          <a:endParaRPr lang="en-US"/>
        </a:p>
      </dgm:t>
    </dgm:pt>
    <dgm:pt modelId="{8F748240-B84D-4355-A9AE-D85A832A8A68}" type="sibTrans" cxnId="{0BC7F1CE-5CE8-4424-9E6E-6486A82BE87F}">
      <dgm:prSet/>
      <dgm:spPr/>
      <dgm:t>
        <a:bodyPr/>
        <a:lstStyle/>
        <a:p>
          <a:endParaRPr lang="en-US"/>
        </a:p>
      </dgm:t>
    </dgm:pt>
    <dgm:pt modelId="{62C9D4B1-7DDD-4A13-88A1-7F7405FA0AFF}">
      <dgm:prSet phldrT="[Text]" custT="1"/>
      <dgm:spPr/>
      <dgm:t>
        <a:bodyPr/>
        <a:lstStyle/>
        <a:p>
          <a:r>
            <a:rPr lang="en-US" sz="1800" dirty="0" smtClean="0">
              <a:latin typeface="Arial Narrow" pitchFamily="34" charset="0"/>
            </a:rPr>
            <a:t>The European Electricity Grid Initiative</a:t>
          </a:r>
          <a:endParaRPr lang="en-US" sz="1800" dirty="0">
            <a:latin typeface="Arial Narrow" pitchFamily="34" charset="0"/>
          </a:endParaRPr>
        </a:p>
      </dgm:t>
    </dgm:pt>
    <dgm:pt modelId="{F1015639-050E-4B9E-B485-138D6FC4C7EF}" type="parTrans" cxnId="{66BF656F-3E0C-496C-A0B5-AB2221AC68F5}">
      <dgm:prSet/>
      <dgm:spPr/>
      <dgm:t>
        <a:bodyPr/>
        <a:lstStyle/>
        <a:p>
          <a:endParaRPr lang="en-US"/>
        </a:p>
      </dgm:t>
    </dgm:pt>
    <dgm:pt modelId="{412B97A3-A17B-4240-AF2B-720DE906F5DD}" type="sibTrans" cxnId="{66BF656F-3E0C-496C-A0B5-AB2221AC68F5}">
      <dgm:prSet/>
      <dgm:spPr/>
      <dgm:t>
        <a:bodyPr/>
        <a:lstStyle/>
        <a:p>
          <a:endParaRPr lang="en-US"/>
        </a:p>
      </dgm:t>
    </dgm:pt>
    <dgm:pt modelId="{58637C63-DCBA-4F98-AFA4-BAD798AD069B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1600" b="1" dirty="0" smtClean="0">
              <a:latin typeface="Arial Narrow" pitchFamily="34" charset="0"/>
            </a:rPr>
            <a:t>The Fuel Cells and Hydrogen (FCH) Joint Technology Initiative</a:t>
          </a:r>
          <a:endParaRPr lang="en-US" sz="1600" b="1" dirty="0">
            <a:latin typeface="Arial Narrow" pitchFamily="34" charset="0"/>
          </a:endParaRPr>
        </a:p>
      </dgm:t>
    </dgm:pt>
    <dgm:pt modelId="{6304ACD8-1CF0-42FD-BFF8-D0B4A3B16726}" type="parTrans" cxnId="{F99841D9-93EE-48B9-9387-B177D537512F}">
      <dgm:prSet/>
      <dgm:spPr/>
      <dgm:t>
        <a:bodyPr/>
        <a:lstStyle/>
        <a:p>
          <a:endParaRPr lang="en-US"/>
        </a:p>
      </dgm:t>
    </dgm:pt>
    <dgm:pt modelId="{C2E4FDFD-7FCF-4DA7-A725-D294626BD2DA}" type="sibTrans" cxnId="{F99841D9-93EE-48B9-9387-B177D537512F}">
      <dgm:prSet/>
      <dgm:spPr/>
      <dgm:t>
        <a:bodyPr/>
        <a:lstStyle/>
        <a:p>
          <a:endParaRPr lang="en-US"/>
        </a:p>
      </dgm:t>
    </dgm:pt>
    <dgm:pt modelId="{68D7FCF3-6C67-4500-91FA-10B5CA4E4A05}">
      <dgm:prSet phldrT="[Text]" custT="1"/>
      <dgm:spPr/>
      <dgm:t>
        <a:bodyPr/>
        <a:lstStyle/>
        <a:p>
          <a:r>
            <a:rPr lang="en-US" sz="1800" dirty="0" smtClean="0">
              <a:latin typeface="Arial Narrow" pitchFamily="34" charset="0"/>
            </a:rPr>
            <a:t>The Sustainable Nuclear Initiative</a:t>
          </a:r>
          <a:endParaRPr lang="en-US" sz="1800" dirty="0">
            <a:latin typeface="Arial Narrow" pitchFamily="34" charset="0"/>
          </a:endParaRPr>
        </a:p>
      </dgm:t>
    </dgm:pt>
    <dgm:pt modelId="{FDC4D09C-D218-4779-9503-DB401C9F14D6}" type="parTrans" cxnId="{25C58C63-52C2-4F99-AFF3-5B42D3F71EC1}">
      <dgm:prSet/>
      <dgm:spPr/>
      <dgm:t>
        <a:bodyPr/>
        <a:lstStyle/>
        <a:p>
          <a:endParaRPr lang="en-US"/>
        </a:p>
      </dgm:t>
    </dgm:pt>
    <dgm:pt modelId="{16AD9730-B3A1-4EAE-B092-91517702E385}" type="sibTrans" cxnId="{25C58C63-52C2-4F99-AFF3-5B42D3F71EC1}">
      <dgm:prSet/>
      <dgm:spPr/>
      <dgm:t>
        <a:bodyPr/>
        <a:lstStyle/>
        <a:p>
          <a:endParaRPr lang="en-US"/>
        </a:p>
      </dgm:t>
    </dgm:pt>
    <dgm:pt modelId="{575B4ABA-2AAD-40E7-B174-3F634746BAF9}">
      <dgm:prSet phldrT="[Text]" custT="1"/>
      <dgm:spPr/>
      <dgm:t>
        <a:bodyPr/>
        <a:lstStyle/>
        <a:p>
          <a:r>
            <a:rPr lang="en-US" sz="1800" dirty="0" smtClean="0">
              <a:latin typeface="Arial Narrow" pitchFamily="34" charset="0"/>
            </a:rPr>
            <a:t>Energy Efficiency – The Smart Cities Initiative</a:t>
          </a:r>
          <a:endParaRPr lang="en-US" sz="1800" dirty="0">
            <a:latin typeface="Arial Narrow" pitchFamily="34" charset="0"/>
          </a:endParaRPr>
        </a:p>
      </dgm:t>
    </dgm:pt>
    <dgm:pt modelId="{B7667D25-9F3A-47C1-B52E-5F189F72887D}" type="parTrans" cxnId="{2E837FA9-F370-44BD-BA01-8CE1FE17C97C}">
      <dgm:prSet/>
      <dgm:spPr/>
      <dgm:t>
        <a:bodyPr/>
        <a:lstStyle/>
        <a:p>
          <a:endParaRPr lang="en-US"/>
        </a:p>
      </dgm:t>
    </dgm:pt>
    <dgm:pt modelId="{58F6F919-1718-4A95-A683-A19F5ABDE0AD}" type="sibTrans" cxnId="{2E837FA9-F370-44BD-BA01-8CE1FE17C97C}">
      <dgm:prSet/>
      <dgm:spPr/>
      <dgm:t>
        <a:bodyPr/>
        <a:lstStyle/>
        <a:p>
          <a:endParaRPr lang="en-US"/>
        </a:p>
      </dgm:t>
    </dgm:pt>
    <dgm:pt modelId="{ABEA0058-2FF5-4D6F-BD15-280AFAADBE0F}">
      <dgm:prSet phldrT="[Text]" custT="1"/>
      <dgm:spPr/>
      <dgm:t>
        <a:bodyPr/>
        <a:lstStyle/>
        <a:p>
          <a:r>
            <a:rPr lang="en-US" sz="1800" dirty="0" smtClean="0">
              <a:latin typeface="Arial Narrow" pitchFamily="34" charset="0"/>
            </a:rPr>
            <a:t>The Solar Europe Initiative</a:t>
          </a:r>
          <a:endParaRPr lang="en-US" sz="1800" dirty="0">
            <a:latin typeface="Arial Narrow" pitchFamily="34" charset="0"/>
          </a:endParaRPr>
        </a:p>
      </dgm:t>
    </dgm:pt>
    <dgm:pt modelId="{1955C437-C511-4A67-9EA2-2408D3C96661}" type="parTrans" cxnId="{DB81FFD2-11E0-4860-B3EF-930884BEABD4}">
      <dgm:prSet/>
      <dgm:spPr/>
      <dgm:t>
        <a:bodyPr/>
        <a:lstStyle/>
        <a:p>
          <a:endParaRPr lang="en-US"/>
        </a:p>
      </dgm:t>
    </dgm:pt>
    <dgm:pt modelId="{C87C2E83-C107-4DC9-BD75-7021009F94FF}" type="sibTrans" cxnId="{DB81FFD2-11E0-4860-B3EF-930884BEABD4}">
      <dgm:prSet/>
      <dgm:spPr/>
      <dgm:t>
        <a:bodyPr/>
        <a:lstStyle/>
        <a:p>
          <a:endParaRPr lang="en-US"/>
        </a:p>
      </dgm:t>
    </dgm:pt>
    <dgm:pt modelId="{30BC6DEC-F1AA-4142-BD13-AE22C8BD4854}">
      <dgm:prSet phldrT="[Text]" custT="1"/>
      <dgm:spPr/>
      <dgm:t>
        <a:bodyPr/>
        <a:lstStyle/>
        <a:p>
          <a:r>
            <a:rPr lang="en-US" sz="1800" dirty="0" smtClean="0">
              <a:latin typeface="Arial Narrow" pitchFamily="34" charset="0"/>
            </a:rPr>
            <a:t>The European Wind Initiative</a:t>
          </a:r>
          <a:endParaRPr lang="en-US" sz="1800" dirty="0">
            <a:latin typeface="Arial Narrow" pitchFamily="34" charset="0"/>
          </a:endParaRPr>
        </a:p>
      </dgm:t>
    </dgm:pt>
    <dgm:pt modelId="{EC764D39-8D48-4B0A-9544-673DE5A3CA5B}" type="parTrans" cxnId="{D0798436-CD6E-4E71-87C2-661CABD521FF}">
      <dgm:prSet/>
      <dgm:spPr/>
      <dgm:t>
        <a:bodyPr/>
        <a:lstStyle/>
        <a:p>
          <a:endParaRPr lang="en-US"/>
        </a:p>
      </dgm:t>
    </dgm:pt>
    <dgm:pt modelId="{9A806DB8-F995-4197-B0A1-EAEDAD46044A}" type="sibTrans" cxnId="{D0798436-CD6E-4E71-87C2-661CABD521FF}">
      <dgm:prSet/>
      <dgm:spPr/>
      <dgm:t>
        <a:bodyPr/>
        <a:lstStyle/>
        <a:p>
          <a:endParaRPr lang="en-US"/>
        </a:p>
      </dgm:t>
    </dgm:pt>
    <dgm:pt modelId="{32CF4685-54FE-4C6C-BB1C-EB9ACBA26BD5}" type="pres">
      <dgm:prSet presAssocID="{F027A839-72DC-4E53-A23C-A36533FE26C9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D20AE75-1161-494D-BF2A-CA8BE6D94E4A}" type="pres">
      <dgm:prSet presAssocID="{A51673A9-7D9A-4C79-B8E4-A5570BD3306E}" presName="centerShape" presStyleLbl="node0" presStyleIdx="0" presStyleCnt="1" custScaleX="140420" custScaleY="143231"/>
      <dgm:spPr/>
      <dgm:t>
        <a:bodyPr/>
        <a:lstStyle/>
        <a:p>
          <a:endParaRPr lang="en-US"/>
        </a:p>
      </dgm:t>
    </dgm:pt>
    <dgm:pt modelId="{B15A2A0C-3B1B-4F2C-8110-6962746B18B8}" type="pres">
      <dgm:prSet presAssocID="{232E1475-FD0A-4FA0-9891-514C1694214B}" presName="Name9" presStyleLbl="parChTrans1D2" presStyleIdx="0" presStyleCnt="8"/>
      <dgm:spPr/>
      <dgm:t>
        <a:bodyPr/>
        <a:lstStyle/>
        <a:p>
          <a:endParaRPr lang="en-US"/>
        </a:p>
      </dgm:t>
    </dgm:pt>
    <dgm:pt modelId="{E6584D53-2276-469E-BFFA-C1931747F3AF}" type="pres">
      <dgm:prSet presAssocID="{232E1475-FD0A-4FA0-9891-514C1694214B}" presName="connTx" presStyleLbl="parChTrans1D2" presStyleIdx="0" presStyleCnt="8"/>
      <dgm:spPr/>
      <dgm:t>
        <a:bodyPr/>
        <a:lstStyle/>
        <a:p>
          <a:endParaRPr lang="en-US"/>
        </a:p>
      </dgm:t>
    </dgm:pt>
    <dgm:pt modelId="{7EB5DECF-72D6-410D-BDD0-D3A994568DC5}" type="pres">
      <dgm:prSet presAssocID="{EDD9A305-3C38-4B25-B318-ECE02D1092AD}" presName="node" presStyleLbl="node1" presStyleIdx="0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FBBE7F-234D-4C0D-9E04-6518B4585F0E}" type="pres">
      <dgm:prSet presAssocID="{D9277612-7AF8-4E74-9741-9A46E268A547}" presName="Name9" presStyleLbl="parChTrans1D2" presStyleIdx="1" presStyleCnt="8"/>
      <dgm:spPr/>
      <dgm:t>
        <a:bodyPr/>
        <a:lstStyle/>
        <a:p>
          <a:endParaRPr lang="en-US"/>
        </a:p>
      </dgm:t>
    </dgm:pt>
    <dgm:pt modelId="{B48C5D86-4FEB-46D9-976F-6AFE9E8D2B03}" type="pres">
      <dgm:prSet presAssocID="{D9277612-7AF8-4E74-9741-9A46E268A547}" presName="connTx" presStyleLbl="parChTrans1D2" presStyleIdx="1" presStyleCnt="8"/>
      <dgm:spPr/>
      <dgm:t>
        <a:bodyPr/>
        <a:lstStyle/>
        <a:p>
          <a:endParaRPr lang="en-US"/>
        </a:p>
      </dgm:t>
    </dgm:pt>
    <dgm:pt modelId="{93B686F6-C9C0-4C80-AA7C-B10C471D93F7}" type="pres">
      <dgm:prSet presAssocID="{D2CFA8EE-62A7-4404-B725-BFB5B9376B06}" presName="node" presStyleLbl="node1" presStyleIdx="1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46D40B-4647-46F9-B87B-CE2DA5DA2044}" type="pres">
      <dgm:prSet presAssocID="{F1015639-050E-4B9E-B485-138D6FC4C7EF}" presName="Name9" presStyleLbl="parChTrans1D2" presStyleIdx="2" presStyleCnt="8"/>
      <dgm:spPr/>
      <dgm:t>
        <a:bodyPr/>
        <a:lstStyle/>
        <a:p>
          <a:endParaRPr lang="en-US"/>
        </a:p>
      </dgm:t>
    </dgm:pt>
    <dgm:pt modelId="{9B28B6C8-3A23-474F-94C3-69DF8C49715F}" type="pres">
      <dgm:prSet presAssocID="{F1015639-050E-4B9E-B485-138D6FC4C7EF}" presName="connTx" presStyleLbl="parChTrans1D2" presStyleIdx="2" presStyleCnt="8"/>
      <dgm:spPr/>
      <dgm:t>
        <a:bodyPr/>
        <a:lstStyle/>
        <a:p>
          <a:endParaRPr lang="en-US"/>
        </a:p>
      </dgm:t>
    </dgm:pt>
    <dgm:pt modelId="{CCF2D2CF-941D-4D9E-9869-25A84CC00547}" type="pres">
      <dgm:prSet presAssocID="{62C9D4B1-7DDD-4A13-88A1-7F7405FA0AFF}" presName="node" presStyleLbl="node1" presStyleIdx="2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A512FA-40C6-44F8-848A-9B31D87AB74A}" type="pres">
      <dgm:prSet presAssocID="{6304ACD8-1CF0-42FD-BFF8-D0B4A3B16726}" presName="Name9" presStyleLbl="parChTrans1D2" presStyleIdx="3" presStyleCnt="8"/>
      <dgm:spPr/>
      <dgm:t>
        <a:bodyPr/>
        <a:lstStyle/>
        <a:p>
          <a:endParaRPr lang="en-US"/>
        </a:p>
      </dgm:t>
    </dgm:pt>
    <dgm:pt modelId="{0B098474-3A5A-4BD3-A7DC-0667E9D192B6}" type="pres">
      <dgm:prSet presAssocID="{6304ACD8-1CF0-42FD-BFF8-D0B4A3B16726}" presName="connTx" presStyleLbl="parChTrans1D2" presStyleIdx="3" presStyleCnt="8"/>
      <dgm:spPr/>
      <dgm:t>
        <a:bodyPr/>
        <a:lstStyle/>
        <a:p>
          <a:endParaRPr lang="en-US"/>
        </a:p>
      </dgm:t>
    </dgm:pt>
    <dgm:pt modelId="{B8B8A3EA-4806-4FBA-B779-0A01D48E1D42}" type="pres">
      <dgm:prSet presAssocID="{58637C63-DCBA-4F98-AFA4-BAD798AD069B}" presName="node" presStyleLbl="node1" presStyleIdx="3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A85B52-51FA-4E8A-A5A8-1500FBD60DF5}" type="pres">
      <dgm:prSet presAssocID="{FDC4D09C-D218-4779-9503-DB401C9F14D6}" presName="Name9" presStyleLbl="parChTrans1D2" presStyleIdx="4" presStyleCnt="8"/>
      <dgm:spPr/>
      <dgm:t>
        <a:bodyPr/>
        <a:lstStyle/>
        <a:p>
          <a:endParaRPr lang="en-US"/>
        </a:p>
      </dgm:t>
    </dgm:pt>
    <dgm:pt modelId="{ADEB1D8C-8985-4F28-9201-45EFF25C8326}" type="pres">
      <dgm:prSet presAssocID="{FDC4D09C-D218-4779-9503-DB401C9F14D6}" presName="connTx" presStyleLbl="parChTrans1D2" presStyleIdx="4" presStyleCnt="8"/>
      <dgm:spPr/>
      <dgm:t>
        <a:bodyPr/>
        <a:lstStyle/>
        <a:p>
          <a:endParaRPr lang="en-US"/>
        </a:p>
      </dgm:t>
    </dgm:pt>
    <dgm:pt modelId="{7FAC621C-038F-46B4-B2A5-F7E5141449A5}" type="pres">
      <dgm:prSet presAssocID="{68D7FCF3-6C67-4500-91FA-10B5CA4E4A05}" presName="node" presStyleLbl="node1" presStyleIdx="4" presStyleCnt="8" custScaleX="165093" custScaleY="145349" custRadScaleRad="1048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15D91-F2EC-4B22-8DC4-F79C4C04B2EB}" type="pres">
      <dgm:prSet presAssocID="{B7667D25-9F3A-47C1-B52E-5F189F72887D}" presName="Name9" presStyleLbl="parChTrans1D2" presStyleIdx="5" presStyleCnt="8"/>
      <dgm:spPr/>
      <dgm:t>
        <a:bodyPr/>
        <a:lstStyle/>
        <a:p>
          <a:endParaRPr lang="en-US"/>
        </a:p>
      </dgm:t>
    </dgm:pt>
    <dgm:pt modelId="{298D5436-708A-4BF4-BC0A-E78ED28F748B}" type="pres">
      <dgm:prSet presAssocID="{B7667D25-9F3A-47C1-B52E-5F189F72887D}" presName="connTx" presStyleLbl="parChTrans1D2" presStyleIdx="5" presStyleCnt="8"/>
      <dgm:spPr/>
      <dgm:t>
        <a:bodyPr/>
        <a:lstStyle/>
        <a:p>
          <a:endParaRPr lang="en-US"/>
        </a:p>
      </dgm:t>
    </dgm:pt>
    <dgm:pt modelId="{BFB35190-A6AA-4463-808C-1692BB3CAE62}" type="pres">
      <dgm:prSet presAssocID="{575B4ABA-2AAD-40E7-B174-3F634746BAF9}" presName="node" presStyleLbl="node1" presStyleIdx="5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9BD19-58DE-4E52-A708-4D8FB7AFEE0B}" type="pres">
      <dgm:prSet presAssocID="{1955C437-C511-4A67-9EA2-2408D3C96661}" presName="Name9" presStyleLbl="parChTrans1D2" presStyleIdx="6" presStyleCnt="8"/>
      <dgm:spPr/>
      <dgm:t>
        <a:bodyPr/>
        <a:lstStyle/>
        <a:p>
          <a:endParaRPr lang="en-US"/>
        </a:p>
      </dgm:t>
    </dgm:pt>
    <dgm:pt modelId="{413CAFE9-B092-4816-BFA6-24D5B6DE829A}" type="pres">
      <dgm:prSet presAssocID="{1955C437-C511-4A67-9EA2-2408D3C96661}" presName="connTx" presStyleLbl="parChTrans1D2" presStyleIdx="6" presStyleCnt="8"/>
      <dgm:spPr/>
      <dgm:t>
        <a:bodyPr/>
        <a:lstStyle/>
        <a:p>
          <a:endParaRPr lang="en-US"/>
        </a:p>
      </dgm:t>
    </dgm:pt>
    <dgm:pt modelId="{491AE198-067D-4EDF-9DE2-44BA20A02DDC}" type="pres">
      <dgm:prSet presAssocID="{ABEA0058-2FF5-4D6F-BD15-280AFAADBE0F}" presName="node" presStyleLbl="node1" presStyleIdx="6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D65E21-DDF5-45C5-AAE5-A46408AB07B8}" type="pres">
      <dgm:prSet presAssocID="{EC764D39-8D48-4B0A-9544-673DE5A3CA5B}" presName="Name9" presStyleLbl="parChTrans1D2" presStyleIdx="7" presStyleCnt="8"/>
      <dgm:spPr/>
      <dgm:t>
        <a:bodyPr/>
        <a:lstStyle/>
        <a:p>
          <a:endParaRPr lang="en-US"/>
        </a:p>
      </dgm:t>
    </dgm:pt>
    <dgm:pt modelId="{F3D79BD9-43A1-40CE-9361-58FBB363141C}" type="pres">
      <dgm:prSet presAssocID="{EC764D39-8D48-4B0A-9544-673DE5A3CA5B}" presName="connTx" presStyleLbl="parChTrans1D2" presStyleIdx="7" presStyleCnt="8"/>
      <dgm:spPr/>
      <dgm:t>
        <a:bodyPr/>
        <a:lstStyle/>
        <a:p>
          <a:endParaRPr lang="en-US"/>
        </a:p>
      </dgm:t>
    </dgm:pt>
    <dgm:pt modelId="{9B62429D-7E3F-4BE7-9E57-03F3DBC3E5A6}" type="pres">
      <dgm:prSet presAssocID="{30BC6DEC-F1AA-4142-BD13-AE22C8BD4854}" presName="node" presStyleLbl="node1" presStyleIdx="7" presStyleCnt="8" custScaleX="165093" custScaleY="14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E89BEC0-9E7C-40D5-9C20-C972E1B4678A}" type="presOf" srcId="{B7667D25-9F3A-47C1-B52E-5F189F72887D}" destId="{B7415D91-F2EC-4B22-8DC4-F79C4C04B2EB}" srcOrd="0" destOrd="0" presId="urn:microsoft.com/office/officeart/2005/8/layout/radial1"/>
    <dgm:cxn modelId="{3FC0CBB0-F190-4D16-AF96-3E6C8C0AF84C}" type="presOf" srcId="{D9277612-7AF8-4E74-9741-9A46E268A547}" destId="{34FBBE7F-234D-4C0D-9E04-6518B4585F0E}" srcOrd="0" destOrd="0" presId="urn:microsoft.com/office/officeart/2005/8/layout/radial1"/>
    <dgm:cxn modelId="{C60A2AAD-CFEE-4E13-9220-D46CD3A735E1}" type="presOf" srcId="{F1015639-050E-4B9E-B485-138D6FC4C7EF}" destId="{3946D40B-4647-46F9-B87B-CE2DA5DA2044}" srcOrd="0" destOrd="0" presId="urn:microsoft.com/office/officeart/2005/8/layout/radial1"/>
    <dgm:cxn modelId="{0BB9876A-CCAD-4817-BEDD-33B1C2654301}" type="presOf" srcId="{1955C437-C511-4A67-9EA2-2408D3C96661}" destId="{413CAFE9-B092-4816-BFA6-24D5B6DE829A}" srcOrd="1" destOrd="0" presId="urn:microsoft.com/office/officeart/2005/8/layout/radial1"/>
    <dgm:cxn modelId="{21CFF61B-C285-430B-BADC-F194151E93A0}" srcId="{A51673A9-7D9A-4C79-B8E4-A5570BD3306E}" destId="{EDD9A305-3C38-4B25-B318-ECE02D1092AD}" srcOrd="0" destOrd="0" parTransId="{232E1475-FD0A-4FA0-9891-514C1694214B}" sibTransId="{B2482529-F1E2-4D13-A521-41394CD00961}"/>
    <dgm:cxn modelId="{7CD440DB-0574-434A-92A7-E78114A879EC}" type="presOf" srcId="{FDC4D09C-D218-4779-9503-DB401C9F14D6}" destId="{F1A85B52-51FA-4E8A-A5A8-1500FBD60DF5}" srcOrd="0" destOrd="0" presId="urn:microsoft.com/office/officeart/2005/8/layout/radial1"/>
    <dgm:cxn modelId="{66BF656F-3E0C-496C-A0B5-AB2221AC68F5}" srcId="{A51673A9-7D9A-4C79-B8E4-A5570BD3306E}" destId="{62C9D4B1-7DDD-4A13-88A1-7F7405FA0AFF}" srcOrd="2" destOrd="0" parTransId="{F1015639-050E-4B9E-B485-138D6FC4C7EF}" sibTransId="{412B97A3-A17B-4240-AF2B-720DE906F5DD}"/>
    <dgm:cxn modelId="{DFB3B69F-A45C-4D25-BE98-F62157BD6912}" type="presOf" srcId="{232E1475-FD0A-4FA0-9891-514C1694214B}" destId="{B15A2A0C-3B1B-4F2C-8110-6962746B18B8}" srcOrd="0" destOrd="0" presId="urn:microsoft.com/office/officeart/2005/8/layout/radial1"/>
    <dgm:cxn modelId="{256481BA-3F81-47E6-B03F-34A868E45B52}" type="presOf" srcId="{575B4ABA-2AAD-40E7-B174-3F634746BAF9}" destId="{BFB35190-A6AA-4463-808C-1692BB3CAE62}" srcOrd="0" destOrd="0" presId="urn:microsoft.com/office/officeart/2005/8/layout/radial1"/>
    <dgm:cxn modelId="{479930BE-008C-475F-9464-94B1223A534A}" type="presOf" srcId="{D2CFA8EE-62A7-4404-B725-BFB5B9376B06}" destId="{93B686F6-C9C0-4C80-AA7C-B10C471D93F7}" srcOrd="0" destOrd="0" presId="urn:microsoft.com/office/officeart/2005/8/layout/radial1"/>
    <dgm:cxn modelId="{FA30A005-BCC2-43CE-A2D4-C45DBA1B21EA}" srcId="{F027A839-72DC-4E53-A23C-A36533FE26C9}" destId="{A51673A9-7D9A-4C79-B8E4-A5570BD3306E}" srcOrd="0" destOrd="0" parTransId="{AD95D229-E9C1-4776-A948-3389B8327D5E}" sibTransId="{BA1F3763-0582-4CA5-93FF-6AC6CB1D5FC3}"/>
    <dgm:cxn modelId="{7338322D-08BF-4AA9-8916-1BA612CE39B4}" type="presOf" srcId="{58637C63-DCBA-4F98-AFA4-BAD798AD069B}" destId="{B8B8A3EA-4806-4FBA-B779-0A01D48E1D42}" srcOrd="0" destOrd="0" presId="urn:microsoft.com/office/officeart/2005/8/layout/radial1"/>
    <dgm:cxn modelId="{0BC7F1CE-5CE8-4424-9E6E-6486A82BE87F}" srcId="{A51673A9-7D9A-4C79-B8E4-A5570BD3306E}" destId="{D2CFA8EE-62A7-4404-B725-BFB5B9376B06}" srcOrd="1" destOrd="0" parTransId="{D9277612-7AF8-4E74-9741-9A46E268A547}" sibTransId="{8F748240-B84D-4355-A9AE-D85A832A8A68}"/>
    <dgm:cxn modelId="{F99841D9-93EE-48B9-9387-B177D537512F}" srcId="{A51673A9-7D9A-4C79-B8E4-A5570BD3306E}" destId="{58637C63-DCBA-4F98-AFA4-BAD798AD069B}" srcOrd="3" destOrd="0" parTransId="{6304ACD8-1CF0-42FD-BFF8-D0B4A3B16726}" sibTransId="{C2E4FDFD-7FCF-4DA7-A725-D294626BD2DA}"/>
    <dgm:cxn modelId="{AD8B2B02-7507-411F-A9CC-F2EACA9DEE66}" type="presOf" srcId="{EC764D39-8D48-4B0A-9544-673DE5A3CA5B}" destId="{CAD65E21-DDF5-45C5-AAE5-A46408AB07B8}" srcOrd="0" destOrd="0" presId="urn:microsoft.com/office/officeart/2005/8/layout/radial1"/>
    <dgm:cxn modelId="{583AD5D8-91E4-4238-96AF-75E65A95C6A1}" type="presOf" srcId="{F1015639-050E-4B9E-B485-138D6FC4C7EF}" destId="{9B28B6C8-3A23-474F-94C3-69DF8C49715F}" srcOrd="1" destOrd="0" presId="urn:microsoft.com/office/officeart/2005/8/layout/radial1"/>
    <dgm:cxn modelId="{2E837FA9-F370-44BD-BA01-8CE1FE17C97C}" srcId="{A51673A9-7D9A-4C79-B8E4-A5570BD3306E}" destId="{575B4ABA-2AAD-40E7-B174-3F634746BAF9}" srcOrd="5" destOrd="0" parTransId="{B7667D25-9F3A-47C1-B52E-5F189F72887D}" sibTransId="{58F6F919-1718-4A95-A683-A19F5ABDE0AD}"/>
    <dgm:cxn modelId="{E7CC1BC4-E461-4AAA-9846-C0198557E69F}" type="presOf" srcId="{FDC4D09C-D218-4779-9503-DB401C9F14D6}" destId="{ADEB1D8C-8985-4F28-9201-45EFF25C8326}" srcOrd="1" destOrd="0" presId="urn:microsoft.com/office/officeart/2005/8/layout/radial1"/>
    <dgm:cxn modelId="{13AC4D04-6426-4CDE-8745-756F2C956F8D}" type="presOf" srcId="{6304ACD8-1CF0-42FD-BFF8-D0B4A3B16726}" destId="{9FA512FA-40C6-44F8-848A-9B31D87AB74A}" srcOrd="0" destOrd="0" presId="urn:microsoft.com/office/officeart/2005/8/layout/radial1"/>
    <dgm:cxn modelId="{0E179658-3780-4467-8B45-81D4DAE2883A}" type="presOf" srcId="{232E1475-FD0A-4FA0-9891-514C1694214B}" destId="{E6584D53-2276-469E-BFFA-C1931747F3AF}" srcOrd="1" destOrd="0" presId="urn:microsoft.com/office/officeart/2005/8/layout/radial1"/>
    <dgm:cxn modelId="{8F2EBDF1-21C4-4CA8-B52F-51CE97C12B63}" type="presOf" srcId="{62C9D4B1-7DDD-4A13-88A1-7F7405FA0AFF}" destId="{CCF2D2CF-941D-4D9E-9869-25A84CC00547}" srcOrd="0" destOrd="0" presId="urn:microsoft.com/office/officeart/2005/8/layout/radial1"/>
    <dgm:cxn modelId="{E04FAF1B-7B86-4530-9069-65E4CEA90425}" type="presOf" srcId="{ABEA0058-2FF5-4D6F-BD15-280AFAADBE0F}" destId="{491AE198-067D-4EDF-9DE2-44BA20A02DDC}" srcOrd="0" destOrd="0" presId="urn:microsoft.com/office/officeart/2005/8/layout/radial1"/>
    <dgm:cxn modelId="{F8AD1BAD-71EB-4885-A51C-EA036B5D4CD6}" type="presOf" srcId="{6304ACD8-1CF0-42FD-BFF8-D0B4A3B16726}" destId="{0B098474-3A5A-4BD3-A7DC-0667E9D192B6}" srcOrd="1" destOrd="0" presId="urn:microsoft.com/office/officeart/2005/8/layout/radial1"/>
    <dgm:cxn modelId="{25C58C63-52C2-4F99-AFF3-5B42D3F71EC1}" srcId="{A51673A9-7D9A-4C79-B8E4-A5570BD3306E}" destId="{68D7FCF3-6C67-4500-91FA-10B5CA4E4A05}" srcOrd="4" destOrd="0" parTransId="{FDC4D09C-D218-4779-9503-DB401C9F14D6}" sibTransId="{16AD9730-B3A1-4EAE-B092-91517702E385}"/>
    <dgm:cxn modelId="{D0798436-CD6E-4E71-87C2-661CABD521FF}" srcId="{A51673A9-7D9A-4C79-B8E4-A5570BD3306E}" destId="{30BC6DEC-F1AA-4142-BD13-AE22C8BD4854}" srcOrd="7" destOrd="0" parTransId="{EC764D39-8D48-4B0A-9544-673DE5A3CA5B}" sibTransId="{9A806DB8-F995-4197-B0A1-EAEDAD46044A}"/>
    <dgm:cxn modelId="{DB81FFD2-11E0-4860-B3EF-930884BEABD4}" srcId="{A51673A9-7D9A-4C79-B8E4-A5570BD3306E}" destId="{ABEA0058-2FF5-4D6F-BD15-280AFAADBE0F}" srcOrd="6" destOrd="0" parTransId="{1955C437-C511-4A67-9EA2-2408D3C96661}" sibTransId="{C87C2E83-C107-4DC9-BD75-7021009F94FF}"/>
    <dgm:cxn modelId="{B64672DE-20B3-4A75-AAAB-39A12D0942AE}" type="presOf" srcId="{D9277612-7AF8-4E74-9741-9A46E268A547}" destId="{B48C5D86-4FEB-46D9-976F-6AFE9E8D2B03}" srcOrd="1" destOrd="0" presId="urn:microsoft.com/office/officeart/2005/8/layout/radial1"/>
    <dgm:cxn modelId="{7DBDCA1B-B948-45E7-9C86-FF02EFE09D28}" type="presOf" srcId="{30BC6DEC-F1AA-4142-BD13-AE22C8BD4854}" destId="{9B62429D-7E3F-4BE7-9E57-03F3DBC3E5A6}" srcOrd="0" destOrd="0" presId="urn:microsoft.com/office/officeart/2005/8/layout/radial1"/>
    <dgm:cxn modelId="{F975BF3C-54EF-40A0-BC84-EB5B7DFD9F60}" type="presOf" srcId="{EDD9A305-3C38-4B25-B318-ECE02D1092AD}" destId="{7EB5DECF-72D6-410D-BDD0-D3A994568DC5}" srcOrd="0" destOrd="0" presId="urn:microsoft.com/office/officeart/2005/8/layout/radial1"/>
    <dgm:cxn modelId="{FC2F5B88-6953-4ED9-9BC1-2CB6B67A3739}" type="presOf" srcId="{F027A839-72DC-4E53-A23C-A36533FE26C9}" destId="{32CF4685-54FE-4C6C-BB1C-EB9ACBA26BD5}" srcOrd="0" destOrd="0" presId="urn:microsoft.com/office/officeart/2005/8/layout/radial1"/>
    <dgm:cxn modelId="{1F0C56D3-C461-484F-9693-868F02E869B9}" type="presOf" srcId="{EC764D39-8D48-4B0A-9544-673DE5A3CA5B}" destId="{F3D79BD9-43A1-40CE-9361-58FBB363141C}" srcOrd="1" destOrd="0" presId="urn:microsoft.com/office/officeart/2005/8/layout/radial1"/>
    <dgm:cxn modelId="{06239BBD-1382-4F6D-A163-15DD95669AF4}" type="presOf" srcId="{B7667D25-9F3A-47C1-B52E-5F189F72887D}" destId="{298D5436-708A-4BF4-BC0A-E78ED28F748B}" srcOrd="1" destOrd="0" presId="urn:microsoft.com/office/officeart/2005/8/layout/radial1"/>
    <dgm:cxn modelId="{988CEDEC-06EA-43B8-9998-3B57083C36FB}" type="presOf" srcId="{68D7FCF3-6C67-4500-91FA-10B5CA4E4A05}" destId="{7FAC621C-038F-46B4-B2A5-F7E5141449A5}" srcOrd="0" destOrd="0" presId="urn:microsoft.com/office/officeart/2005/8/layout/radial1"/>
    <dgm:cxn modelId="{436AE6AD-F51B-46BC-974D-1DD4A0AE8F25}" type="presOf" srcId="{A51673A9-7D9A-4C79-B8E4-A5570BD3306E}" destId="{0D20AE75-1161-494D-BF2A-CA8BE6D94E4A}" srcOrd="0" destOrd="0" presId="urn:microsoft.com/office/officeart/2005/8/layout/radial1"/>
    <dgm:cxn modelId="{1D325C68-23CC-49E9-9A19-B8B64ACF7AC1}" type="presOf" srcId="{1955C437-C511-4A67-9EA2-2408D3C96661}" destId="{7919BD19-58DE-4E52-A708-4D8FB7AFEE0B}" srcOrd="0" destOrd="0" presId="urn:microsoft.com/office/officeart/2005/8/layout/radial1"/>
    <dgm:cxn modelId="{B5CE39C0-D332-4F69-B7BA-36C678104EEE}" type="presParOf" srcId="{32CF4685-54FE-4C6C-BB1C-EB9ACBA26BD5}" destId="{0D20AE75-1161-494D-BF2A-CA8BE6D94E4A}" srcOrd="0" destOrd="0" presId="urn:microsoft.com/office/officeart/2005/8/layout/radial1"/>
    <dgm:cxn modelId="{2B06FEEB-5971-4AE1-AE2A-B119D5077CB5}" type="presParOf" srcId="{32CF4685-54FE-4C6C-BB1C-EB9ACBA26BD5}" destId="{B15A2A0C-3B1B-4F2C-8110-6962746B18B8}" srcOrd="1" destOrd="0" presId="urn:microsoft.com/office/officeart/2005/8/layout/radial1"/>
    <dgm:cxn modelId="{1FF698D8-C758-4184-9913-91C13D396E44}" type="presParOf" srcId="{B15A2A0C-3B1B-4F2C-8110-6962746B18B8}" destId="{E6584D53-2276-469E-BFFA-C1931747F3AF}" srcOrd="0" destOrd="0" presId="urn:microsoft.com/office/officeart/2005/8/layout/radial1"/>
    <dgm:cxn modelId="{987EE7CB-CB58-4BE8-9D0A-10892811F3A1}" type="presParOf" srcId="{32CF4685-54FE-4C6C-BB1C-EB9ACBA26BD5}" destId="{7EB5DECF-72D6-410D-BDD0-D3A994568DC5}" srcOrd="2" destOrd="0" presId="urn:microsoft.com/office/officeart/2005/8/layout/radial1"/>
    <dgm:cxn modelId="{5499E9AE-5A68-4C4D-BA94-28CCD92F0A1F}" type="presParOf" srcId="{32CF4685-54FE-4C6C-BB1C-EB9ACBA26BD5}" destId="{34FBBE7F-234D-4C0D-9E04-6518B4585F0E}" srcOrd="3" destOrd="0" presId="urn:microsoft.com/office/officeart/2005/8/layout/radial1"/>
    <dgm:cxn modelId="{0BA9D6E3-18E6-4356-A3D6-1B41A49894EF}" type="presParOf" srcId="{34FBBE7F-234D-4C0D-9E04-6518B4585F0E}" destId="{B48C5D86-4FEB-46D9-976F-6AFE9E8D2B03}" srcOrd="0" destOrd="0" presId="urn:microsoft.com/office/officeart/2005/8/layout/radial1"/>
    <dgm:cxn modelId="{64BBCD4C-8798-4E1C-BE68-413C4D0F777E}" type="presParOf" srcId="{32CF4685-54FE-4C6C-BB1C-EB9ACBA26BD5}" destId="{93B686F6-C9C0-4C80-AA7C-B10C471D93F7}" srcOrd="4" destOrd="0" presId="urn:microsoft.com/office/officeart/2005/8/layout/radial1"/>
    <dgm:cxn modelId="{1BF83D28-4117-4393-A892-38BCD2CDFC02}" type="presParOf" srcId="{32CF4685-54FE-4C6C-BB1C-EB9ACBA26BD5}" destId="{3946D40B-4647-46F9-B87B-CE2DA5DA2044}" srcOrd="5" destOrd="0" presId="urn:microsoft.com/office/officeart/2005/8/layout/radial1"/>
    <dgm:cxn modelId="{0E40B493-A835-471F-A044-67CAF724DE3A}" type="presParOf" srcId="{3946D40B-4647-46F9-B87B-CE2DA5DA2044}" destId="{9B28B6C8-3A23-474F-94C3-69DF8C49715F}" srcOrd="0" destOrd="0" presId="urn:microsoft.com/office/officeart/2005/8/layout/radial1"/>
    <dgm:cxn modelId="{B11D314B-257E-458C-8B30-F39372C4D42C}" type="presParOf" srcId="{32CF4685-54FE-4C6C-BB1C-EB9ACBA26BD5}" destId="{CCF2D2CF-941D-4D9E-9869-25A84CC00547}" srcOrd="6" destOrd="0" presId="urn:microsoft.com/office/officeart/2005/8/layout/radial1"/>
    <dgm:cxn modelId="{F94BB758-BE71-4B8A-867F-B801EB284314}" type="presParOf" srcId="{32CF4685-54FE-4C6C-BB1C-EB9ACBA26BD5}" destId="{9FA512FA-40C6-44F8-848A-9B31D87AB74A}" srcOrd="7" destOrd="0" presId="urn:microsoft.com/office/officeart/2005/8/layout/radial1"/>
    <dgm:cxn modelId="{914EFE32-1142-4A1B-A799-AB4B5274032A}" type="presParOf" srcId="{9FA512FA-40C6-44F8-848A-9B31D87AB74A}" destId="{0B098474-3A5A-4BD3-A7DC-0667E9D192B6}" srcOrd="0" destOrd="0" presId="urn:microsoft.com/office/officeart/2005/8/layout/radial1"/>
    <dgm:cxn modelId="{722955F3-7E70-4949-852E-D69E81936144}" type="presParOf" srcId="{32CF4685-54FE-4C6C-BB1C-EB9ACBA26BD5}" destId="{B8B8A3EA-4806-4FBA-B779-0A01D48E1D42}" srcOrd="8" destOrd="0" presId="urn:microsoft.com/office/officeart/2005/8/layout/radial1"/>
    <dgm:cxn modelId="{DD8EB305-0A60-4D34-A287-74682864CF6F}" type="presParOf" srcId="{32CF4685-54FE-4C6C-BB1C-EB9ACBA26BD5}" destId="{F1A85B52-51FA-4E8A-A5A8-1500FBD60DF5}" srcOrd="9" destOrd="0" presId="urn:microsoft.com/office/officeart/2005/8/layout/radial1"/>
    <dgm:cxn modelId="{75F0EF26-1101-45CB-9C4F-AE6F099554A0}" type="presParOf" srcId="{F1A85B52-51FA-4E8A-A5A8-1500FBD60DF5}" destId="{ADEB1D8C-8985-4F28-9201-45EFF25C8326}" srcOrd="0" destOrd="0" presId="urn:microsoft.com/office/officeart/2005/8/layout/radial1"/>
    <dgm:cxn modelId="{A20BEBAA-967F-49B1-B3F9-FD01AF1B436C}" type="presParOf" srcId="{32CF4685-54FE-4C6C-BB1C-EB9ACBA26BD5}" destId="{7FAC621C-038F-46B4-B2A5-F7E5141449A5}" srcOrd="10" destOrd="0" presId="urn:microsoft.com/office/officeart/2005/8/layout/radial1"/>
    <dgm:cxn modelId="{15A68B9C-687E-4380-B792-79EF1F56AAE2}" type="presParOf" srcId="{32CF4685-54FE-4C6C-BB1C-EB9ACBA26BD5}" destId="{B7415D91-F2EC-4B22-8DC4-F79C4C04B2EB}" srcOrd="11" destOrd="0" presId="urn:microsoft.com/office/officeart/2005/8/layout/radial1"/>
    <dgm:cxn modelId="{2473527A-BBAE-4F11-A853-3B59DB3D7553}" type="presParOf" srcId="{B7415D91-F2EC-4B22-8DC4-F79C4C04B2EB}" destId="{298D5436-708A-4BF4-BC0A-E78ED28F748B}" srcOrd="0" destOrd="0" presId="urn:microsoft.com/office/officeart/2005/8/layout/radial1"/>
    <dgm:cxn modelId="{23C7BC61-6DAE-4741-A93B-D27AB1D6E82B}" type="presParOf" srcId="{32CF4685-54FE-4C6C-BB1C-EB9ACBA26BD5}" destId="{BFB35190-A6AA-4463-808C-1692BB3CAE62}" srcOrd="12" destOrd="0" presId="urn:microsoft.com/office/officeart/2005/8/layout/radial1"/>
    <dgm:cxn modelId="{1BF6C943-7615-456C-939F-4D60B1E5FCDD}" type="presParOf" srcId="{32CF4685-54FE-4C6C-BB1C-EB9ACBA26BD5}" destId="{7919BD19-58DE-4E52-A708-4D8FB7AFEE0B}" srcOrd="13" destOrd="0" presId="urn:microsoft.com/office/officeart/2005/8/layout/radial1"/>
    <dgm:cxn modelId="{5DF00998-C7D8-43BA-BF7A-CE40EC725FBC}" type="presParOf" srcId="{7919BD19-58DE-4E52-A708-4D8FB7AFEE0B}" destId="{413CAFE9-B092-4816-BFA6-24D5B6DE829A}" srcOrd="0" destOrd="0" presId="urn:microsoft.com/office/officeart/2005/8/layout/radial1"/>
    <dgm:cxn modelId="{02373F7A-FDBF-4DB4-A1A5-9ABBB0561E5A}" type="presParOf" srcId="{32CF4685-54FE-4C6C-BB1C-EB9ACBA26BD5}" destId="{491AE198-067D-4EDF-9DE2-44BA20A02DDC}" srcOrd="14" destOrd="0" presId="urn:microsoft.com/office/officeart/2005/8/layout/radial1"/>
    <dgm:cxn modelId="{03564834-6FE8-4296-9802-40202ED1FE44}" type="presParOf" srcId="{32CF4685-54FE-4C6C-BB1C-EB9ACBA26BD5}" destId="{CAD65E21-DDF5-45C5-AAE5-A46408AB07B8}" srcOrd="15" destOrd="0" presId="urn:microsoft.com/office/officeart/2005/8/layout/radial1"/>
    <dgm:cxn modelId="{54B50393-7EE3-4355-A8F2-275A164D57E3}" type="presParOf" srcId="{CAD65E21-DDF5-45C5-AAE5-A46408AB07B8}" destId="{F3D79BD9-43A1-40CE-9361-58FBB363141C}" srcOrd="0" destOrd="0" presId="urn:microsoft.com/office/officeart/2005/8/layout/radial1"/>
    <dgm:cxn modelId="{90F64FDF-964E-4699-ACFC-782644FCD6C9}" type="presParOf" srcId="{32CF4685-54FE-4C6C-BB1C-EB9ACBA26BD5}" destId="{9B62429D-7E3F-4BE7-9E57-03F3DBC3E5A6}" srcOrd="1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20AE75-1161-494D-BF2A-CA8BE6D94E4A}">
      <dsp:nvSpPr>
        <dsp:cNvPr id="0" name=""/>
        <dsp:cNvSpPr/>
      </dsp:nvSpPr>
      <dsp:spPr>
        <a:xfrm>
          <a:off x="1813057" y="1508161"/>
          <a:ext cx="1409725" cy="14379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>
              <a:solidFill>
                <a:schemeClr val="accent1">
                  <a:lumMod val="75000"/>
                </a:schemeClr>
              </a:solidFill>
            </a:rPr>
            <a:t>SET plan</a:t>
          </a:r>
          <a:endParaRPr lang="en-US" sz="3600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2019506" y="1718743"/>
        <a:ext cx="996827" cy="1016782"/>
      </dsp:txXfrm>
    </dsp:sp>
    <dsp:sp modelId="{B15A2A0C-3B1B-4F2C-8110-6962746B18B8}">
      <dsp:nvSpPr>
        <dsp:cNvPr id="0" name=""/>
        <dsp:cNvSpPr/>
      </dsp:nvSpPr>
      <dsp:spPr>
        <a:xfrm rot="16200000">
          <a:off x="2388483" y="1360782"/>
          <a:ext cx="258873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258873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511448" y="1372252"/>
        <a:ext cx="12943" cy="12943"/>
      </dsp:txXfrm>
    </dsp:sp>
    <dsp:sp modelId="{7EB5DECF-72D6-410D-BDD0-D3A994568DC5}">
      <dsp:nvSpPr>
        <dsp:cNvPr id="0" name=""/>
        <dsp:cNvSpPr/>
      </dsp:nvSpPr>
      <dsp:spPr>
        <a:xfrm>
          <a:off x="1689207" y="-209921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 Narrow" pitchFamily="34" charset="0"/>
            </a:rPr>
            <a:t>The European Industrial </a:t>
          </a:r>
          <a:r>
            <a:rPr lang="en-US" sz="1600" kern="1200" dirty="0" err="1" smtClean="0">
              <a:latin typeface="Arial Narrow" pitchFamily="34" charset="0"/>
            </a:rPr>
            <a:t>Bioenergy</a:t>
          </a:r>
          <a:r>
            <a:rPr lang="en-US" sz="1600" kern="1200" dirty="0" smtClean="0">
              <a:latin typeface="Arial Narrow" pitchFamily="34" charset="0"/>
            </a:rPr>
            <a:t> Initiative</a:t>
          </a:r>
          <a:endParaRPr lang="en-US" sz="1600" kern="1200" dirty="0">
            <a:latin typeface="Arial Narrow" pitchFamily="34" charset="0"/>
          </a:endParaRPr>
        </a:p>
      </dsp:txBody>
      <dsp:txXfrm>
        <a:off x="1931931" y="3775"/>
        <a:ext cx="1171978" cy="1031817"/>
      </dsp:txXfrm>
    </dsp:sp>
    <dsp:sp modelId="{34FBBE7F-234D-4C0D-9E04-6518B4585F0E}">
      <dsp:nvSpPr>
        <dsp:cNvPr id="0" name=""/>
        <dsp:cNvSpPr/>
      </dsp:nvSpPr>
      <dsp:spPr>
        <a:xfrm rot="18900000">
          <a:off x="2988855" y="1627659"/>
          <a:ext cx="221195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221195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093923" y="1640072"/>
        <a:ext cx="11059" cy="11059"/>
      </dsp:txXfrm>
    </dsp:sp>
    <dsp:sp modelId="{93B686F6-C9C0-4C80-AA7C-B10C471D93F7}">
      <dsp:nvSpPr>
        <dsp:cNvPr id="0" name=""/>
        <dsp:cNvSpPr/>
      </dsp:nvSpPr>
      <dsp:spPr>
        <a:xfrm>
          <a:off x="2896557" y="290179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 Narrow" pitchFamily="34" charset="0"/>
            </a:rPr>
            <a:t>The European CO2 Capture, Transport and Storage Initiative</a:t>
          </a:r>
          <a:endParaRPr lang="en-US" sz="1600" kern="1200" dirty="0">
            <a:latin typeface="Arial Narrow" pitchFamily="34" charset="0"/>
          </a:endParaRPr>
        </a:p>
      </dsp:txBody>
      <dsp:txXfrm>
        <a:off x="3139281" y="503875"/>
        <a:ext cx="1171978" cy="1031817"/>
      </dsp:txXfrm>
    </dsp:sp>
    <dsp:sp modelId="{3946D40B-4647-46F9-B87B-CE2DA5DA2044}">
      <dsp:nvSpPr>
        <dsp:cNvPr id="0" name=""/>
        <dsp:cNvSpPr/>
      </dsp:nvSpPr>
      <dsp:spPr>
        <a:xfrm>
          <a:off x="3222783" y="2209192"/>
          <a:ext cx="173875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173875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305374" y="2222787"/>
        <a:ext cx="8693" cy="8693"/>
      </dsp:txXfrm>
    </dsp:sp>
    <dsp:sp modelId="{CCF2D2CF-941D-4D9E-9869-25A84CC00547}">
      <dsp:nvSpPr>
        <dsp:cNvPr id="0" name=""/>
        <dsp:cNvSpPr/>
      </dsp:nvSpPr>
      <dsp:spPr>
        <a:xfrm>
          <a:off x="3396658" y="1497529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 Narrow" pitchFamily="34" charset="0"/>
            </a:rPr>
            <a:t>The European Electricity Grid Initiative</a:t>
          </a:r>
          <a:endParaRPr lang="en-US" sz="1800" kern="1200" dirty="0">
            <a:latin typeface="Arial Narrow" pitchFamily="34" charset="0"/>
          </a:endParaRPr>
        </a:p>
      </dsp:txBody>
      <dsp:txXfrm>
        <a:off x="3639382" y="1711225"/>
        <a:ext cx="1171978" cy="1031817"/>
      </dsp:txXfrm>
    </dsp:sp>
    <dsp:sp modelId="{9FA512FA-40C6-44F8-848A-9B31D87AB74A}">
      <dsp:nvSpPr>
        <dsp:cNvPr id="0" name=""/>
        <dsp:cNvSpPr/>
      </dsp:nvSpPr>
      <dsp:spPr>
        <a:xfrm rot="2700000">
          <a:off x="2988855" y="2790724"/>
          <a:ext cx="221195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221195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093923" y="2803137"/>
        <a:ext cx="11059" cy="11059"/>
      </dsp:txXfrm>
    </dsp:sp>
    <dsp:sp modelId="{B8B8A3EA-4806-4FBA-B779-0A01D48E1D42}">
      <dsp:nvSpPr>
        <dsp:cNvPr id="0" name=""/>
        <dsp:cNvSpPr/>
      </dsp:nvSpPr>
      <dsp:spPr>
        <a:xfrm>
          <a:off x="2896557" y="2704880"/>
          <a:ext cx="1657426" cy="1459209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latin typeface="Arial Narrow" pitchFamily="34" charset="0"/>
            </a:rPr>
            <a:t>The Fuel Cells and Hydrogen (FCH) Joint Technology Initiative</a:t>
          </a:r>
          <a:endParaRPr lang="en-US" sz="1600" b="1" kern="1200" dirty="0">
            <a:latin typeface="Arial Narrow" pitchFamily="34" charset="0"/>
          </a:endParaRPr>
        </a:p>
      </dsp:txBody>
      <dsp:txXfrm>
        <a:off x="3139281" y="2918576"/>
        <a:ext cx="1171978" cy="1031817"/>
      </dsp:txXfrm>
    </dsp:sp>
    <dsp:sp modelId="{F1A85B52-51FA-4E8A-A5A8-1500FBD60DF5}">
      <dsp:nvSpPr>
        <dsp:cNvPr id="0" name=""/>
        <dsp:cNvSpPr/>
      </dsp:nvSpPr>
      <dsp:spPr>
        <a:xfrm rot="5400000">
          <a:off x="2388483" y="3057602"/>
          <a:ext cx="258873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258873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511448" y="3069072"/>
        <a:ext cx="12943" cy="12943"/>
      </dsp:txXfrm>
    </dsp:sp>
    <dsp:sp modelId="{7FAC621C-038F-46B4-B2A5-F7E5141449A5}">
      <dsp:nvSpPr>
        <dsp:cNvPr id="0" name=""/>
        <dsp:cNvSpPr/>
      </dsp:nvSpPr>
      <dsp:spPr>
        <a:xfrm>
          <a:off x="1689207" y="3204981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 Narrow" pitchFamily="34" charset="0"/>
            </a:rPr>
            <a:t>The Sustainable Nuclear Initiative</a:t>
          </a:r>
          <a:endParaRPr lang="en-US" sz="1800" kern="1200" dirty="0">
            <a:latin typeface="Arial Narrow" pitchFamily="34" charset="0"/>
          </a:endParaRPr>
        </a:p>
      </dsp:txBody>
      <dsp:txXfrm>
        <a:off x="1931931" y="3418677"/>
        <a:ext cx="1171978" cy="1031817"/>
      </dsp:txXfrm>
    </dsp:sp>
    <dsp:sp modelId="{B7415D91-F2EC-4B22-8DC4-F79C4C04B2EB}">
      <dsp:nvSpPr>
        <dsp:cNvPr id="0" name=""/>
        <dsp:cNvSpPr/>
      </dsp:nvSpPr>
      <dsp:spPr>
        <a:xfrm rot="8100000">
          <a:off x="1825790" y="2790724"/>
          <a:ext cx="221195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221195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1930858" y="2803137"/>
        <a:ext cx="11059" cy="11059"/>
      </dsp:txXfrm>
    </dsp:sp>
    <dsp:sp modelId="{BFB35190-A6AA-4463-808C-1692BB3CAE62}">
      <dsp:nvSpPr>
        <dsp:cNvPr id="0" name=""/>
        <dsp:cNvSpPr/>
      </dsp:nvSpPr>
      <dsp:spPr>
        <a:xfrm>
          <a:off x="481856" y="2704880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 Narrow" pitchFamily="34" charset="0"/>
            </a:rPr>
            <a:t>Energy Efficiency – The Smart Cities Initiative</a:t>
          </a:r>
          <a:endParaRPr lang="en-US" sz="1800" kern="1200" dirty="0">
            <a:latin typeface="Arial Narrow" pitchFamily="34" charset="0"/>
          </a:endParaRPr>
        </a:p>
      </dsp:txBody>
      <dsp:txXfrm>
        <a:off x="724580" y="2918576"/>
        <a:ext cx="1171978" cy="1031817"/>
      </dsp:txXfrm>
    </dsp:sp>
    <dsp:sp modelId="{7919BD19-58DE-4E52-A708-4D8FB7AFEE0B}">
      <dsp:nvSpPr>
        <dsp:cNvPr id="0" name=""/>
        <dsp:cNvSpPr/>
      </dsp:nvSpPr>
      <dsp:spPr>
        <a:xfrm rot="10800000">
          <a:off x="1639182" y="2209192"/>
          <a:ext cx="173875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173875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1721773" y="2222787"/>
        <a:ext cx="8693" cy="8693"/>
      </dsp:txXfrm>
    </dsp:sp>
    <dsp:sp modelId="{491AE198-067D-4EDF-9DE2-44BA20A02DDC}">
      <dsp:nvSpPr>
        <dsp:cNvPr id="0" name=""/>
        <dsp:cNvSpPr/>
      </dsp:nvSpPr>
      <dsp:spPr>
        <a:xfrm>
          <a:off x="-18244" y="1497529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 Narrow" pitchFamily="34" charset="0"/>
            </a:rPr>
            <a:t>The Solar Europe Initiative</a:t>
          </a:r>
          <a:endParaRPr lang="en-US" sz="1800" kern="1200" dirty="0">
            <a:latin typeface="Arial Narrow" pitchFamily="34" charset="0"/>
          </a:endParaRPr>
        </a:p>
      </dsp:txBody>
      <dsp:txXfrm>
        <a:off x="224480" y="1711225"/>
        <a:ext cx="1171978" cy="1031817"/>
      </dsp:txXfrm>
    </dsp:sp>
    <dsp:sp modelId="{CAD65E21-DDF5-45C5-AAE5-A46408AB07B8}">
      <dsp:nvSpPr>
        <dsp:cNvPr id="0" name=""/>
        <dsp:cNvSpPr/>
      </dsp:nvSpPr>
      <dsp:spPr>
        <a:xfrm rot="13500000">
          <a:off x="1825790" y="1627659"/>
          <a:ext cx="221195" cy="35884"/>
        </a:xfrm>
        <a:custGeom>
          <a:avLst/>
          <a:gdLst/>
          <a:ahLst/>
          <a:cxnLst/>
          <a:rect l="0" t="0" r="0" b="0"/>
          <a:pathLst>
            <a:path>
              <a:moveTo>
                <a:pt x="0" y="17942"/>
              </a:moveTo>
              <a:lnTo>
                <a:pt x="221195" y="17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1930858" y="1640072"/>
        <a:ext cx="11059" cy="11059"/>
      </dsp:txXfrm>
    </dsp:sp>
    <dsp:sp modelId="{9B62429D-7E3F-4BE7-9E57-03F3DBC3E5A6}">
      <dsp:nvSpPr>
        <dsp:cNvPr id="0" name=""/>
        <dsp:cNvSpPr/>
      </dsp:nvSpPr>
      <dsp:spPr>
        <a:xfrm>
          <a:off x="481856" y="290179"/>
          <a:ext cx="1657426" cy="14592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 Narrow" pitchFamily="34" charset="0"/>
            </a:rPr>
            <a:t>The European Wind Initiative</a:t>
          </a:r>
          <a:endParaRPr lang="en-US" sz="1800" kern="1200" dirty="0">
            <a:latin typeface="Arial Narrow" pitchFamily="34" charset="0"/>
          </a:endParaRPr>
        </a:p>
      </dsp:txBody>
      <dsp:txXfrm>
        <a:off x="724580" y="503875"/>
        <a:ext cx="1171978" cy="10318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t" anchorCtr="0" compatLnSpc="1">
            <a:prstTxWarp prst="textNoShape">
              <a:avLst/>
            </a:prstTxWarp>
          </a:bodyPr>
          <a:lstStyle>
            <a:lvl1pPr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2926" y="1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t" anchorCtr="0" compatLnSpc="1">
            <a:prstTxWarp prst="textNoShape">
              <a:avLst/>
            </a:prstTxWarp>
          </a:bodyPr>
          <a:lstStyle>
            <a:lvl1pPr algn="r"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6456364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b" anchorCtr="0" compatLnSpc="1">
            <a:prstTxWarp prst="textNoShape">
              <a:avLst/>
            </a:prstTxWarp>
          </a:bodyPr>
          <a:lstStyle>
            <a:lvl1pPr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2926" y="6456364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b" anchorCtr="0" compatLnSpc="1">
            <a:prstTxWarp prst="textNoShape">
              <a:avLst/>
            </a:prstTxWarp>
          </a:bodyPr>
          <a:lstStyle>
            <a:lvl1pPr algn="r"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B72E1F16-CAD0-4B54-936D-4CE350D7575B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57820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t" anchorCtr="0" compatLnSpc="1">
            <a:prstTxWarp prst="textNoShape">
              <a:avLst/>
            </a:prstTxWarp>
          </a:bodyPr>
          <a:lstStyle>
            <a:lvl1pPr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2926" y="1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t" anchorCtr="0" compatLnSpc="1">
            <a:prstTxWarp prst="textNoShape">
              <a:avLst/>
            </a:prstTxWarp>
          </a:bodyPr>
          <a:lstStyle>
            <a:lvl1pPr algn="r"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5488" y="509588"/>
            <a:ext cx="3398837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189" y="3228976"/>
            <a:ext cx="7943850" cy="305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Textmasterformate durch Klicken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  <a:p>
            <a:pPr lvl="3"/>
            <a:r>
              <a:rPr lang="de-CH" noProof="0" smtClean="0"/>
              <a:t>Vierte Ebene</a:t>
            </a:r>
          </a:p>
          <a:p>
            <a:pPr lvl="4"/>
            <a:r>
              <a:rPr lang="de-CH" noProof="0" smtClean="0"/>
              <a:t>Fünfte Ebene</a:t>
            </a: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6456364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b" anchorCtr="0" compatLnSpc="1">
            <a:prstTxWarp prst="textNoShape">
              <a:avLst/>
            </a:prstTxWarp>
          </a:bodyPr>
          <a:lstStyle>
            <a:lvl1pPr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27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2926" y="6456364"/>
            <a:ext cx="43037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1" tIns="46041" rIns="92081" bIns="46041" numCol="1" anchor="b" anchorCtr="0" compatLnSpc="1">
            <a:prstTxWarp prst="textNoShape">
              <a:avLst/>
            </a:prstTxWarp>
          </a:bodyPr>
          <a:lstStyle>
            <a:lvl1pPr algn="r" defTabSz="920671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932C7099-BCC2-4FE7-B948-7574184EFC4F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538820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2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43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14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686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579" algn="l" defTabSz="9134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294" algn="l" defTabSz="9134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010" algn="l" defTabSz="9134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726" algn="l" defTabSz="9134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267075" y="509588"/>
            <a:ext cx="3398838" cy="2549525"/>
          </a:xfrm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60" tIns="46031" rIns="92060" bIns="46031"/>
          <a:lstStyle/>
          <a:p>
            <a:endParaRPr lang="nl-BE" sz="800">
              <a:latin typeface="Arial" pitchFamily="34" charset="0"/>
            </a:endParaRPr>
          </a:p>
        </p:txBody>
      </p:sp>
      <p:sp>
        <p:nvSpPr>
          <p:cNvPr id="21508" name="Slide Number Placeholder 3"/>
          <p:cNvSpPr txBox="1">
            <a:spLocks noGrp="1"/>
          </p:cNvSpPr>
          <p:nvPr/>
        </p:nvSpPr>
        <p:spPr bwMode="auto">
          <a:xfrm>
            <a:off x="5621339" y="6456364"/>
            <a:ext cx="43053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60" tIns="46031" rIns="92060" bIns="46031" anchor="b"/>
          <a:lstStyle>
            <a:lvl1pPr defTabSz="920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defTabSz="920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20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defTabSz="920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defTabSz="920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r" eaLnBrk="1" hangingPunct="1"/>
            <a:fld id="{3139E19A-BCA5-4A54-B98F-CA8B026C279A}" type="slidenum">
              <a:rPr lang="de-CH" sz="1200">
                <a:ea typeface="ＭＳ Ｐゴシック" pitchFamily="34" charset="-128"/>
              </a:rPr>
              <a:pPr algn="r" eaLnBrk="1" hangingPunct="1"/>
              <a:t>2</a:t>
            </a:fld>
            <a:endParaRPr lang="de-CH" sz="120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BE" smtClean="0">
              <a:latin typeface="Arial" pitchFamily="34" charset="0"/>
            </a:endParaRPr>
          </a:p>
          <a:p>
            <a:r>
              <a:rPr lang="fr-BE" b="1" smtClean="0">
                <a:latin typeface="Arial" pitchFamily="34" charset="0"/>
              </a:rPr>
              <a:t>The main space for FCH development in the EU is the FCH JU. A PPP between the EC and the FCH private sector, consisting of the research and industry community.</a:t>
            </a:r>
          </a:p>
          <a:p>
            <a:endParaRPr lang="fr-BE" smtClean="0">
              <a:latin typeface="Arial" pitchFamily="34" charset="0"/>
            </a:endParaRPr>
          </a:p>
          <a:p>
            <a:r>
              <a:rPr lang="fr-BE" smtClean="0">
                <a:latin typeface="Arial" pitchFamily="34" charset="0"/>
              </a:rPr>
              <a:t>FCH JU 2008-2013 : </a:t>
            </a:r>
          </a:p>
          <a:p>
            <a:pPr lvl="1">
              <a:buFontTx/>
              <a:buChar char="-"/>
            </a:pPr>
            <a:r>
              <a:rPr lang="fr-BE" smtClean="0">
                <a:latin typeface="Arial" pitchFamily="34" charset="0"/>
              </a:rPr>
              <a:t> part of the SET-plan </a:t>
            </a:r>
          </a:p>
          <a:p>
            <a:pPr lvl="1">
              <a:buFontTx/>
              <a:buChar char="-"/>
            </a:pPr>
            <a:r>
              <a:rPr lang="fr-BE" smtClean="0">
                <a:latin typeface="Arial" pitchFamily="34" charset="0"/>
              </a:rPr>
              <a:t> Total budget of 940€M – shared by EC/Private Sector</a:t>
            </a:r>
          </a:p>
          <a:p>
            <a:pPr lvl="1">
              <a:buFontTx/>
              <a:buChar char="-"/>
            </a:pPr>
            <a:r>
              <a:rPr lang="fr-BE" smtClean="0">
                <a:latin typeface="Arial" pitchFamily="34" charset="0"/>
              </a:rPr>
              <a:t> etc</a:t>
            </a:r>
          </a:p>
          <a:p>
            <a:pPr lvl="1">
              <a:buFontTx/>
              <a:buChar char="-"/>
            </a:pPr>
            <a:endParaRPr lang="en-GB" smtClean="0">
              <a:latin typeface="Arial" pitchFamily="34" charset="0"/>
            </a:endParaRPr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2894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886" indent="-285726" defTabSz="942894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2901" indent="-228580" defTabSz="942894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062" indent="-228580" defTabSz="942894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222" indent="-228580" defTabSz="942894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382" indent="-228580" defTabSz="9428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544" indent="-228580" defTabSz="9428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8704" indent="-228580" defTabSz="9428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5865" indent="-228580" defTabSz="9428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CF080A46-B5AD-4057-9B9D-8B8965C28304}" type="slidenum">
              <a:rPr lang="en-GB">
                <a:ea typeface="MS PGothic" pitchFamily="34" charset="-128"/>
              </a:rPr>
              <a:pPr eaLnBrk="1" hangingPunct="1"/>
              <a:t>3</a:t>
            </a:fld>
            <a:endParaRPr lang="en-GB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7972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886" indent="-285726" defTabSz="907972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2901" indent="-228580" defTabSz="907972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062" indent="-228580" defTabSz="907972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222" indent="-228580" defTabSz="907972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382" indent="-228580" defTabSz="9079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544" indent="-228580" defTabSz="9079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8704" indent="-228580" defTabSz="9079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5865" indent="-228580" defTabSz="9079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2884D168-E93E-49FA-BF38-008C57F44950}" type="slidenum">
              <a:rPr lang="en-US">
                <a:solidFill>
                  <a:srgbClr val="000000"/>
                </a:solidFill>
                <a:ea typeface="MS PGothic" pitchFamily="34" charset="-128"/>
              </a:rPr>
              <a:pPr eaLnBrk="1" hangingPunct="1"/>
              <a:t>6</a:t>
            </a:fld>
            <a:endParaRPr lang="en-US">
              <a:solidFill>
                <a:srgbClr val="000000"/>
              </a:solidFill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GB" dirty="0" smtClean="0"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image" Target="../media/image3.png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oleObject" Target="../embeddings/oleObject5.bin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5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image" Target="../media/image3.png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image" Target="../media/image3.png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2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3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5" Type="http://schemas.openxmlformats.org/officeDocument/2006/relationships/image" Target="../media/image3.png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2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720" indent="0" algn="ctr">
              <a:buNone/>
              <a:defRPr/>
            </a:lvl2pPr>
            <a:lvl3pPr marL="913432" indent="0" algn="ctr">
              <a:buNone/>
              <a:defRPr/>
            </a:lvl3pPr>
            <a:lvl4pPr marL="1370147" indent="0" algn="ctr">
              <a:buNone/>
              <a:defRPr/>
            </a:lvl4pPr>
            <a:lvl5pPr marL="1826862" indent="0" algn="ctr">
              <a:buNone/>
              <a:defRPr/>
            </a:lvl5pPr>
            <a:lvl6pPr marL="2283579" indent="0" algn="ctr">
              <a:buNone/>
              <a:defRPr/>
            </a:lvl6pPr>
            <a:lvl7pPr marL="2740294" indent="0" algn="ctr">
              <a:buNone/>
              <a:defRPr/>
            </a:lvl7pPr>
            <a:lvl8pPr marL="3197010" indent="0" algn="ctr">
              <a:buNone/>
              <a:defRPr/>
            </a:lvl8pPr>
            <a:lvl9pPr marL="365372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501C78-4B0E-4C93-996B-D1D22667E287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EE09-F7F9-4747-9201-F1D378550D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4540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BF08D4-56B0-456A-B679-1DB4ADBA7B99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F22F3F-AD6E-45C8-9F66-6F20192C4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406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-98425"/>
            <a:ext cx="2057400" cy="62245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-98425"/>
            <a:ext cx="6019800" cy="62245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95F92-6A24-4459-9865-339459DC6581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826C1F-C94A-42FF-B0FC-E022C249B1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208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85" y="-98425"/>
            <a:ext cx="7477125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3D1747-A1DC-4621-B988-F058FF498A59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312F7-EB0F-422F-9E8B-2B824E4E9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3465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209186" y="-365050"/>
            <a:ext cx="7477614" cy="11430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57200" y="2426063"/>
            <a:ext cx="8229600" cy="37001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342537" marR="0" indent="-342537" algn="l" defTabSz="45672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94C84"/>
              </a:buClr>
              <a:buSzTx/>
              <a:buFont typeface="Arial"/>
              <a:buChar char="•"/>
              <a:tabLst/>
              <a:defRPr/>
            </a:lvl1pPr>
          </a:lstStyle>
          <a:p>
            <a:pPr lvl="0"/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54445-2A7C-48C1-9666-BF57420D0FB9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834269-314F-4B69-8B4F-16127814C5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46C0E-D575-4549-99B2-DD788E63941B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BE3D66-2058-48F0-AC8A-DBD697057B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87" y="-98425"/>
            <a:ext cx="7477125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425704"/>
            <a:ext cx="8229600" cy="37004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9E65DA-79BD-4A53-99A9-EFD96C39406D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83351-E52E-4E38-AADA-C315B62D97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87" y="-98425"/>
            <a:ext cx="7477125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2425704"/>
            <a:ext cx="8229600" cy="37004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2F2608-AC23-4053-8552-D85A0F95C3A0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A5162D-4413-46B8-B4DD-286C824740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-98425"/>
            <a:ext cx="8229600" cy="622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912833-18D5-4565-8F40-89D9743DA409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45A284-028C-481F-819A-EB01C52CE3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B9BEA-8030-49D0-9373-1E9ECBEA7B0A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AD095-255F-4873-AC90-ECDE232DA4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3814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79536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 bwMode="gray">
          <a:xfrm>
            <a:off x="0" y="-30190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16" tIns="46609" rIns="93216" bIns="46609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49783" y="161983"/>
            <a:ext cx="2565827" cy="1856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4491" y="187891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  <a:ea typeface="+mn-ea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4491" y="346626"/>
            <a:ext cx="3120838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34500" y="506980"/>
            <a:ext cx="279370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507430" y="2675961"/>
            <a:ext cx="7728215" cy="44627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9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gray">
          <a:xfrm>
            <a:off x="507430" y="4159725"/>
            <a:ext cx="7728215" cy="219820"/>
          </a:xfrm>
        </p:spPr>
        <p:txBody>
          <a:bodyPr wrap="square" anchor="b" anchorCtr="0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grpSp>
        <p:nvGrpSpPr>
          <p:cNvPr id="17" name="McK Title Elements" hidden="1"/>
          <p:cNvGrpSpPr>
            <a:grpSpLocks/>
          </p:cNvGrpSpPr>
          <p:nvPr userDrawn="1">
            <p:custDataLst>
              <p:tags r:id="rId11"/>
            </p:custDataLst>
          </p:nvPr>
        </p:nvGrpSpPr>
        <p:grpSpPr bwMode="auto">
          <a:xfrm>
            <a:off x="507430" y="5420353"/>
            <a:ext cx="5036085" cy="494023"/>
            <a:chOff x="1663" y="3106"/>
            <a:chExt cx="3109" cy="305"/>
          </a:xfrm>
        </p:grpSpPr>
        <p:sp>
          <p:nvSpPr>
            <p:cNvPr id="1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905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4058D-EE2B-49FF-B67C-0A970DE55CC9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CB560-A35E-449F-9B6B-9E42268F6D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0546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31288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21497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13173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1238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D7D923-D9C3-477E-99A5-1A956AE68677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82437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59970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 bwMode="gray">
          <a:xfrm>
            <a:off x="0" y="-30192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36" tIns="46619" rIns="93236" bIns="46619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49781" y="161981"/>
            <a:ext cx="2565827" cy="1856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4491" y="187891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  <a:ea typeface="+mn-ea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4491" y="346626"/>
            <a:ext cx="3120838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34498" y="506980"/>
            <a:ext cx="279370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507428" y="2675961"/>
            <a:ext cx="7728215" cy="44627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9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gray">
          <a:xfrm>
            <a:off x="507428" y="4159725"/>
            <a:ext cx="7728215" cy="219820"/>
          </a:xfrm>
        </p:spPr>
        <p:txBody>
          <a:bodyPr wrap="square" anchor="b" anchorCtr="0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grpSp>
        <p:nvGrpSpPr>
          <p:cNvPr id="17" name="McK Title Elements" hidden="1"/>
          <p:cNvGrpSpPr>
            <a:grpSpLocks/>
          </p:cNvGrpSpPr>
          <p:nvPr userDrawn="1">
            <p:custDataLst>
              <p:tags r:id="rId11"/>
            </p:custDataLst>
          </p:nvPr>
        </p:nvGrpSpPr>
        <p:grpSpPr bwMode="auto">
          <a:xfrm>
            <a:off x="507428" y="5420353"/>
            <a:ext cx="5036085" cy="494023"/>
            <a:chOff x="1663" y="3106"/>
            <a:chExt cx="3109" cy="305"/>
          </a:xfrm>
        </p:grpSpPr>
        <p:sp>
          <p:nvSpPr>
            <p:cNvPr id="1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6443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27789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21495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95919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5234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D7D923-D9C3-477E-99A5-1A956AE68677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76799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6441AF3-86EF-46C2-B7E6-0BD9A5AF5931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55072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413991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 bwMode="gray">
          <a:xfrm>
            <a:off x="0" y="-30194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49779" y="161979"/>
            <a:ext cx="2565827" cy="1856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4491" y="187891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  <a:ea typeface="+mn-ea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4491" y="346626"/>
            <a:ext cx="3120838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34496" y="506980"/>
            <a:ext cx="279370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507426" y="2675961"/>
            <a:ext cx="7728215" cy="44627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9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gray">
          <a:xfrm>
            <a:off x="507426" y="4159725"/>
            <a:ext cx="7728215" cy="219820"/>
          </a:xfrm>
        </p:spPr>
        <p:txBody>
          <a:bodyPr wrap="square" anchor="b" anchorCtr="0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grpSp>
        <p:nvGrpSpPr>
          <p:cNvPr id="17" name="McK Title Elements" hidden="1"/>
          <p:cNvGrpSpPr>
            <a:grpSpLocks/>
          </p:cNvGrpSpPr>
          <p:nvPr userDrawn="1">
            <p:custDataLst>
              <p:tags r:id="rId11"/>
            </p:custDataLst>
          </p:nvPr>
        </p:nvGrpSpPr>
        <p:grpSpPr bwMode="auto">
          <a:xfrm>
            <a:off x="507426" y="5420353"/>
            <a:ext cx="5036085" cy="494023"/>
            <a:chOff x="1663" y="3106"/>
            <a:chExt cx="3109" cy="305"/>
          </a:xfrm>
        </p:grpSpPr>
        <p:sp>
          <p:nvSpPr>
            <p:cNvPr id="1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000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30874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21493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02749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20" indent="0">
              <a:buNone/>
              <a:defRPr sz="1800"/>
            </a:lvl2pPr>
            <a:lvl3pPr marL="913432" indent="0">
              <a:buNone/>
              <a:defRPr sz="1600"/>
            </a:lvl3pPr>
            <a:lvl4pPr marL="1370147" indent="0">
              <a:buNone/>
              <a:defRPr sz="1400"/>
            </a:lvl4pPr>
            <a:lvl5pPr marL="1826862" indent="0">
              <a:buNone/>
              <a:defRPr sz="1400"/>
            </a:lvl5pPr>
            <a:lvl6pPr marL="2283579" indent="0">
              <a:buNone/>
              <a:defRPr sz="1400"/>
            </a:lvl6pPr>
            <a:lvl7pPr marL="2740294" indent="0">
              <a:buNone/>
              <a:defRPr sz="1400"/>
            </a:lvl7pPr>
            <a:lvl8pPr marL="3197010" indent="0">
              <a:buNone/>
              <a:defRPr sz="1400"/>
            </a:lvl8pPr>
            <a:lvl9pPr marL="365372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6B7886-D627-44F6-8FB7-DCBA02DC848E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6E277-923D-41CC-9742-758B61768E1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7719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4311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D7D923-D9C3-477E-99A5-1A956AE68677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44500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6441AF3-86EF-46C2-B7E6-0BD9A5AF5931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16605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1682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 bwMode="gray">
          <a:xfrm>
            <a:off x="0" y="-30198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49775" y="161975"/>
            <a:ext cx="2565827" cy="1856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4491" y="187890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  <a:ea typeface="+mn-ea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4491" y="346625"/>
            <a:ext cx="305853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34492" y="506980"/>
            <a:ext cx="279370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507422" y="2675961"/>
            <a:ext cx="7728215" cy="44627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9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gray">
          <a:xfrm>
            <a:off x="507422" y="4159725"/>
            <a:ext cx="7728215" cy="219820"/>
          </a:xfrm>
        </p:spPr>
        <p:txBody>
          <a:bodyPr wrap="square" anchor="b" anchorCtr="0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grpSp>
        <p:nvGrpSpPr>
          <p:cNvPr id="17" name="McK Title Elements" hidden="1"/>
          <p:cNvGrpSpPr>
            <a:grpSpLocks/>
          </p:cNvGrpSpPr>
          <p:nvPr userDrawn="1">
            <p:custDataLst>
              <p:tags r:id="rId11"/>
            </p:custDataLst>
          </p:nvPr>
        </p:nvGrpSpPr>
        <p:grpSpPr bwMode="auto">
          <a:xfrm>
            <a:off x="507422" y="5420353"/>
            <a:ext cx="5036085" cy="494023"/>
            <a:chOff x="1663" y="3106"/>
            <a:chExt cx="3109" cy="305"/>
          </a:xfrm>
        </p:grpSpPr>
        <p:sp>
          <p:nvSpPr>
            <p:cNvPr id="1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+mn-ea"/>
                </a:rPr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641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276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7768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2102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D7D923-D9C3-477E-99A5-1A956AE68677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50185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6441AF3-86EF-46C2-B7E6-0BD9A5AF5931}" type="slidenum">
              <a:rPr>
                <a:solidFill>
                  <a:srgbClr val="000000"/>
                </a:solidFill>
              </a:rPr>
              <a:pPr/>
              <a:t>‹#›</a:t>
            </a:fld>
            <a:r>
              <a:rPr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9355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25700"/>
            <a:ext cx="4038600" cy="3700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25700"/>
            <a:ext cx="4038600" cy="3700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57E839-D21A-4573-B19C-47BEB57B5046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684443-5719-4B04-8794-990CC17DD1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325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1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20" indent="0">
              <a:buNone/>
              <a:defRPr sz="2000" b="1"/>
            </a:lvl2pPr>
            <a:lvl3pPr marL="913432" indent="0">
              <a:buNone/>
              <a:defRPr sz="1800" b="1"/>
            </a:lvl3pPr>
            <a:lvl4pPr marL="1370147" indent="0">
              <a:buNone/>
              <a:defRPr sz="1600" b="1"/>
            </a:lvl4pPr>
            <a:lvl5pPr marL="1826862" indent="0">
              <a:buNone/>
              <a:defRPr sz="1600" b="1"/>
            </a:lvl5pPr>
            <a:lvl6pPr marL="2283579" indent="0">
              <a:buNone/>
              <a:defRPr sz="1600" b="1"/>
            </a:lvl6pPr>
            <a:lvl7pPr marL="2740294" indent="0">
              <a:buNone/>
              <a:defRPr sz="1600" b="1"/>
            </a:lvl7pPr>
            <a:lvl8pPr marL="3197010" indent="0">
              <a:buNone/>
              <a:defRPr sz="1600" b="1"/>
            </a:lvl8pPr>
            <a:lvl9pPr marL="365372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1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20" indent="0">
              <a:buNone/>
              <a:defRPr sz="2000" b="1"/>
            </a:lvl2pPr>
            <a:lvl3pPr marL="913432" indent="0">
              <a:buNone/>
              <a:defRPr sz="1800" b="1"/>
            </a:lvl3pPr>
            <a:lvl4pPr marL="1370147" indent="0">
              <a:buNone/>
              <a:defRPr sz="1600" b="1"/>
            </a:lvl4pPr>
            <a:lvl5pPr marL="1826862" indent="0">
              <a:buNone/>
              <a:defRPr sz="1600" b="1"/>
            </a:lvl5pPr>
            <a:lvl6pPr marL="2283579" indent="0">
              <a:buNone/>
              <a:defRPr sz="1600" b="1"/>
            </a:lvl6pPr>
            <a:lvl7pPr marL="2740294" indent="0">
              <a:buNone/>
              <a:defRPr sz="1600" b="1"/>
            </a:lvl7pPr>
            <a:lvl8pPr marL="3197010" indent="0">
              <a:buNone/>
              <a:defRPr sz="1600" b="1"/>
            </a:lvl8pPr>
            <a:lvl9pPr marL="365372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07862A-C978-465E-8DBF-0D3A474FAF32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2AABE-8D66-4E4D-B6D0-D90F9EE305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2398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B9BEA-8030-49D0-9373-1E9ECBEA7B0A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AD095-255F-4873-AC90-ECDE232DA4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5419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3FDC3E-A2A7-4438-9603-66FB4ADE51B0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24B603-09D4-4EEF-90E9-CF58FEA98E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97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1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20" indent="0">
              <a:buNone/>
              <a:defRPr sz="1200"/>
            </a:lvl2pPr>
            <a:lvl3pPr marL="913432" indent="0">
              <a:buNone/>
              <a:defRPr sz="1000"/>
            </a:lvl3pPr>
            <a:lvl4pPr marL="1370147" indent="0">
              <a:buNone/>
              <a:defRPr sz="900"/>
            </a:lvl4pPr>
            <a:lvl5pPr marL="1826862" indent="0">
              <a:buNone/>
              <a:defRPr sz="900"/>
            </a:lvl5pPr>
            <a:lvl6pPr marL="2283579" indent="0">
              <a:buNone/>
              <a:defRPr sz="900"/>
            </a:lvl6pPr>
            <a:lvl7pPr marL="2740294" indent="0">
              <a:buNone/>
              <a:defRPr sz="900"/>
            </a:lvl7pPr>
            <a:lvl8pPr marL="3197010" indent="0">
              <a:buNone/>
              <a:defRPr sz="900"/>
            </a:lvl8pPr>
            <a:lvl9pPr marL="36537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87F1F-9FAA-4450-9484-66908B7AC4B0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0A182-5A6B-4F8B-AB36-0B4A206D00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6811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20" indent="0">
              <a:buNone/>
              <a:defRPr sz="2800"/>
            </a:lvl2pPr>
            <a:lvl3pPr marL="913432" indent="0">
              <a:buNone/>
              <a:defRPr sz="2400"/>
            </a:lvl3pPr>
            <a:lvl4pPr marL="1370147" indent="0">
              <a:buNone/>
              <a:defRPr sz="2000"/>
            </a:lvl4pPr>
            <a:lvl5pPr marL="1826862" indent="0">
              <a:buNone/>
              <a:defRPr sz="2000"/>
            </a:lvl5pPr>
            <a:lvl6pPr marL="2283579" indent="0">
              <a:buNone/>
              <a:defRPr sz="2000"/>
            </a:lvl6pPr>
            <a:lvl7pPr marL="2740294" indent="0">
              <a:buNone/>
              <a:defRPr sz="2000"/>
            </a:lvl7pPr>
            <a:lvl8pPr marL="3197010" indent="0">
              <a:buNone/>
              <a:defRPr sz="2000"/>
            </a:lvl8pPr>
            <a:lvl9pPr marL="3653726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20" indent="0">
              <a:buNone/>
              <a:defRPr sz="1200"/>
            </a:lvl2pPr>
            <a:lvl3pPr marL="913432" indent="0">
              <a:buNone/>
              <a:defRPr sz="1000"/>
            </a:lvl3pPr>
            <a:lvl4pPr marL="1370147" indent="0">
              <a:buNone/>
              <a:defRPr sz="900"/>
            </a:lvl4pPr>
            <a:lvl5pPr marL="1826862" indent="0">
              <a:buNone/>
              <a:defRPr sz="900"/>
            </a:lvl5pPr>
            <a:lvl6pPr marL="2283579" indent="0">
              <a:buNone/>
              <a:defRPr sz="900"/>
            </a:lvl6pPr>
            <a:lvl7pPr marL="2740294" indent="0">
              <a:buNone/>
              <a:defRPr sz="900"/>
            </a:lvl7pPr>
            <a:lvl8pPr marL="3197010" indent="0">
              <a:buNone/>
              <a:defRPr sz="900"/>
            </a:lvl8pPr>
            <a:lvl9pPr marL="36537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569FA-FC63-4B90-BCA1-D5F08E319498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D2498-B561-45ED-8243-AF6C6E25B4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553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tags" Target="../tags/tag32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tags" Target="../tags/tag31.xml"/><Relationship Id="rId40" Type="http://schemas.openxmlformats.org/officeDocument/2006/relationships/image" Target="../media/image2.emf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9" Type="http://schemas.openxmlformats.org/officeDocument/2006/relationships/tags" Target="../tags/tag77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59.xml"/><Relationship Id="rId34" Type="http://schemas.openxmlformats.org/officeDocument/2006/relationships/tags" Target="../tags/tag72.xml"/><Relationship Id="rId42" Type="http://schemas.openxmlformats.org/officeDocument/2006/relationships/image" Target="../media/image3.png"/><Relationship Id="rId7" Type="http://schemas.openxmlformats.org/officeDocument/2006/relationships/vmlDrawing" Target="../drawings/vmlDrawing4.v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tags" Target="../tags/tag67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40" Type="http://schemas.openxmlformats.org/officeDocument/2006/relationships/oleObject" Target="../embeddings/oleObject4.bin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tags" Target="../tags/tag69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9" Type="http://schemas.openxmlformats.org/officeDocument/2006/relationships/tags" Target="../tags/tag122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04.xml"/><Relationship Id="rId34" Type="http://schemas.openxmlformats.org/officeDocument/2006/relationships/tags" Target="../tags/tag117.xml"/><Relationship Id="rId42" Type="http://schemas.openxmlformats.org/officeDocument/2006/relationships/image" Target="../media/image3.png"/><Relationship Id="rId7" Type="http://schemas.openxmlformats.org/officeDocument/2006/relationships/vmlDrawing" Target="../drawings/vmlDrawing7.v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tags" Target="../tags/tag121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tags" Target="../tags/tag112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5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tags" Target="../tags/tag120.xml"/><Relationship Id="rId40" Type="http://schemas.openxmlformats.org/officeDocument/2006/relationships/oleObject" Target="../embeddings/oleObject7.bin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9" Type="http://schemas.openxmlformats.org/officeDocument/2006/relationships/tags" Target="../tags/tag167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149.xml"/><Relationship Id="rId34" Type="http://schemas.openxmlformats.org/officeDocument/2006/relationships/tags" Target="../tags/tag162.xml"/><Relationship Id="rId42" Type="http://schemas.openxmlformats.org/officeDocument/2006/relationships/image" Target="../media/image3.png"/><Relationship Id="rId7" Type="http://schemas.openxmlformats.org/officeDocument/2006/relationships/vmlDrawing" Target="../drawings/vmlDrawing10.v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tags" Target="../tags/tag161.xml"/><Relationship Id="rId38" Type="http://schemas.openxmlformats.org/officeDocument/2006/relationships/tags" Target="../tags/tag166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6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tags" Target="../tags/tag160.xml"/><Relationship Id="rId37" Type="http://schemas.openxmlformats.org/officeDocument/2006/relationships/tags" Target="../tags/tag165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tags" Target="../tags/tag164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tags" Target="../tags/tag159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tags" Target="../tags/tag158.xml"/><Relationship Id="rId35" Type="http://schemas.openxmlformats.org/officeDocument/2006/relationships/tags" Target="../tags/tag1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FCH JU - Power Point2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209685" y="-98425"/>
            <a:ext cx="74771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/>
          <a:p>
            <a:pPr lvl="0"/>
            <a:endParaRPr lang="fr-FR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425700"/>
            <a:ext cx="8229600" cy="370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1" rIns="91344" bIns="456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86BC824D-6311-4FB8-8AD6-355AAFD3E2B9}" type="datetime1">
              <a:rPr lang="en-US"/>
              <a:pPr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D1C8A576-8684-416C-847F-8056360940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</p:sldLayoutIdLst>
  <p:txStyles>
    <p:titleStyle>
      <a:lvl1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+mj-lt"/>
          <a:ea typeface="+mj-ea"/>
          <a:cs typeface="+mj-cs"/>
        </a:defRPr>
      </a:lvl1pPr>
      <a:lvl2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2pPr>
      <a:lvl3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3pPr>
      <a:lvl4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4pPr>
      <a:lvl5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5pPr>
      <a:lvl6pPr marL="799252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6pPr>
      <a:lvl7pPr marL="1255968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7pPr>
      <a:lvl8pPr marL="1712684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8pPr>
      <a:lvl9pPr marL="2169399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pitchFamily="34" charset="0"/>
          <a:ea typeface="ヒラギノ角ゴ Pro W3" charset="-128"/>
          <a:cs typeface="Arial" pitchFamily="34" charset="0"/>
        </a:defRPr>
      </a:lvl9pPr>
    </p:titleStyle>
    <p:bodyStyle>
      <a:lvl1pPr marL="342537" indent="-342537" algn="l" defTabSz="456720" rtl="0" eaLnBrk="0" fontAlgn="base" hangingPunct="0">
        <a:spcBef>
          <a:spcPct val="20000"/>
        </a:spcBef>
        <a:spcAft>
          <a:spcPct val="0"/>
        </a:spcAft>
        <a:buClr>
          <a:srgbClr val="194C84"/>
        </a:buClr>
        <a:buFont typeface="Arial" pitchFamily="34" charset="0"/>
        <a:buChar char="•"/>
        <a:defRPr sz="3200">
          <a:solidFill>
            <a:srgbClr val="194C84"/>
          </a:solidFill>
          <a:latin typeface="+mn-lt"/>
          <a:ea typeface="+mn-ea"/>
          <a:cs typeface="+mn-cs"/>
        </a:defRPr>
      </a:lvl1pPr>
      <a:lvl2pPr marL="742163" indent="-285448" algn="l" defTabSz="456720" rtl="0" eaLnBrk="0" fontAlgn="base" hangingPunct="0">
        <a:spcBef>
          <a:spcPct val="20000"/>
        </a:spcBef>
        <a:spcAft>
          <a:spcPct val="0"/>
        </a:spcAft>
        <a:buClr>
          <a:srgbClr val="008000"/>
        </a:buClr>
        <a:buFont typeface="Arial" pitchFamily="34" charset="0"/>
        <a:buChar char="–"/>
        <a:defRPr sz="2800">
          <a:solidFill>
            <a:srgbClr val="008000"/>
          </a:solidFill>
          <a:latin typeface="+mn-lt"/>
          <a:ea typeface="+mn-ea"/>
          <a:cs typeface="+mn-cs"/>
        </a:defRPr>
      </a:lvl2pPr>
      <a:lvl3pPr marL="1141789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598505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5221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1936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68652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5367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2082" indent="-228355" algn="l" defTabSz="4567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20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32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47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62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79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94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10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26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7" descr="FCH JU - Power Point2.jpg"/>
          <p:cNvPicPr>
            <a:picLocks noChangeAspect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1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23" name="Title Placeholder 1"/>
          <p:cNvSpPr>
            <a:spLocks noGrp="1"/>
          </p:cNvSpPr>
          <p:nvPr>
            <p:ph type="title"/>
          </p:nvPr>
        </p:nvSpPr>
        <p:spPr bwMode="auto">
          <a:xfrm>
            <a:off x="1209685" y="-98425"/>
            <a:ext cx="74771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/>
          <a:p>
            <a:pPr lvl="0"/>
            <a:endParaRPr lang="fr-FR" smtClean="0"/>
          </a:p>
        </p:txBody>
      </p:sp>
      <p:sp>
        <p:nvSpPr>
          <p:cNvPr id="563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425700"/>
            <a:ext cx="8229600" cy="370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4" tIns="45671" rIns="91344" bIns="456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456720">
              <a:defRPr/>
            </a:pPr>
            <a:fld id="{0BC4B77B-9611-4892-87D6-8775F51162DC}" type="datetime1">
              <a:rPr lang="en-US" smtClean="0"/>
              <a:pPr defTabSz="456720">
                <a:defRPr/>
              </a:pPr>
              <a:t>11/1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344" tIns="45671" rIns="91344" bIns="4567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672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456720">
              <a:defRPr/>
            </a:pPr>
            <a:fld id="{7576F2A8-8FA5-4F5C-963E-9241BB92EF73}" type="slidenum">
              <a:rPr lang="en-US" smtClean="0"/>
              <a:pPr defTabSz="456720"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4000" r:id="rId6"/>
  </p:sldLayoutIdLst>
  <p:txStyles>
    <p:titleStyle>
      <a:lvl1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bg2"/>
          </a:solidFill>
          <a:latin typeface="Arial"/>
          <a:ea typeface="ヒラギノ角ゴ Pro W3" charset="-128"/>
          <a:cs typeface="Arial"/>
        </a:defRPr>
      </a:lvl1pPr>
      <a:lvl2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  <a:cs typeface="Arial" charset="0"/>
        </a:defRPr>
      </a:lvl2pPr>
      <a:lvl3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  <a:cs typeface="Arial" charset="0"/>
        </a:defRPr>
      </a:lvl3pPr>
      <a:lvl4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  <a:cs typeface="Arial" charset="0"/>
        </a:defRPr>
      </a:lvl4pPr>
      <a:lvl5pPr marL="342537" indent="-342537" algn="r" defTabSz="456720" rtl="0" eaLnBrk="0" fontAlgn="base" hangingPunct="0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  <a:cs typeface="Arial" charset="0"/>
        </a:defRPr>
      </a:lvl5pPr>
      <a:lvl6pPr marL="799252" indent="-342537" algn="r" defTabSz="456720" rtl="0" fontAlgn="base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</a:defRPr>
      </a:lvl6pPr>
      <a:lvl7pPr marL="1255968" indent="-342537" algn="r" defTabSz="456720" rtl="0" fontAlgn="base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</a:defRPr>
      </a:lvl7pPr>
      <a:lvl8pPr marL="1712684" indent="-342537" algn="r" defTabSz="456720" rtl="0" fontAlgn="base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</a:defRPr>
      </a:lvl8pPr>
      <a:lvl9pPr marL="2169399" indent="-342537" algn="r" defTabSz="456720" rtl="0" fontAlgn="base">
        <a:spcBef>
          <a:spcPct val="0"/>
        </a:spcBef>
        <a:spcAft>
          <a:spcPct val="0"/>
        </a:spcAft>
        <a:defRPr sz="4400">
          <a:solidFill>
            <a:schemeClr val="bg2"/>
          </a:solidFill>
          <a:latin typeface="Arial" charset="0"/>
          <a:ea typeface="ヒラギノ角ゴ Pro W3" charset="-128"/>
        </a:defRPr>
      </a:lvl9pPr>
    </p:titleStyle>
    <p:bodyStyle>
      <a:lvl1pPr marL="342537" indent="-342537" algn="l" defTabSz="456720" rtl="0" eaLnBrk="0" fontAlgn="base" hangingPunct="0">
        <a:spcBef>
          <a:spcPct val="20000"/>
        </a:spcBef>
        <a:spcAft>
          <a:spcPct val="0"/>
        </a:spcAft>
        <a:buClr>
          <a:srgbClr val="194C84"/>
        </a:buClr>
        <a:buFont typeface="Arial" charset="0"/>
        <a:buChar char="•"/>
        <a:defRPr sz="3200" kern="1200">
          <a:solidFill>
            <a:srgbClr val="194C84"/>
          </a:solidFill>
          <a:latin typeface="Arial"/>
          <a:ea typeface="ヒラギノ角ゴ Pro W3" charset="-128"/>
          <a:cs typeface="Arial"/>
        </a:defRPr>
      </a:lvl1pPr>
      <a:lvl2pPr marL="742163" indent="-285448" algn="l" defTabSz="456720" rtl="0" eaLnBrk="0" fontAlgn="base" hangingPunct="0">
        <a:spcBef>
          <a:spcPct val="20000"/>
        </a:spcBef>
        <a:spcAft>
          <a:spcPct val="0"/>
        </a:spcAft>
        <a:buClr>
          <a:srgbClr val="008000"/>
        </a:buClr>
        <a:buFont typeface="Arial" charset="0"/>
        <a:buChar char="–"/>
        <a:defRPr sz="2800" kern="1200">
          <a:solidFill>
            <a:srgbClr val="008000"/>
          </a:solidFill>
          <a:latin typeface="Arial"/>
          <a:ea typeface="ヒラギノ角ゴ Pro W3" charset="-128"/>
          <a:cs typeface="Arial"/>
        </a:defRPr>
      </a:lvl2pPr>
      <a:lvl3pPr marL="1141789" indent="-228355" algn="l" defTabSz="45672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ヒラギノ角ゴ Pro W3" charset="-128"/>
          <a:cs typeface="Arial"/>
        </a:defRPr>
      </a:lvl3pPr>
      <a:lvl4pPr marL="1598505" indent="-228355" algn="l" defTabSz="45672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ヒラギノ角ゴ Pro W3" charset="-128"/>
          <a:cs typeface="Arial"/>
        </a:defRPr>
      </a:lvl4pPr>
      <a:lvl5pPr marL="2055221" indent="-228355" algn="l" defTabSz="45672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ヒラギノ角ゴ Pro W3" charset="-128"/>
          <a:cs typeface="Arial"/>
        </a:defRPr>
      </a:lvl5pPr>
      <a:lvl6pPr marL="2511936" indent="-228355" algn="l" defTabSz="45672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652" indent="-228355" algn="l" defTabSz="45672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367" indent="-228355" algn="l" defTabSz="45672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082" indent="-228355" algn="l" defTabSz="45672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20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32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47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62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79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94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10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26" algn="l" defTabSz="4567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1038414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7" name="think-cell Slide" r:id="rId39" imgW="360" imgH="360" progId="">
                  <p:embed/>
                </p:oleObj>
              </mc:Choice>
              <mc:Fallback>
                <p:oleObj name="think-cell Slide" r:id="rId3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865" y="55354"/>
            <a:ext cx="1070215" cy="774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Rectangle 58"/>
          <p:cNvSpPr/>
          <p:nvPr>
            <p:custDataLst>
              <p:tags r:id="rId9"/>
            </p:custDataLst>
          </p:nvPr>
        </p:nvSpPr>
        <p:spPr>
          <a:xfrm>
            <a:off x="0" y="-30190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16" tIns="46609" rIns="93216" bIns="46609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61" name="LegendMoons" hidden="1"/>
          <p:cNvGrpSpPr/>
          <p:nvPr>
            <p:custDataLst>
              <p:tags r:id="rId10"/>
            </p:custDataLst>
          </p:nvPr>
        </p:nvGrpSpPr>
        <p:grpSpPr>
          <a:xfrm>
            <a:off x="8068263" y="730116"/>
            <a:ext cx="847347" cy="1333054"/>
            <a:chOff x="7769225" y="2105025"/>
            <a:chExt cx="830430" cy="1306516"/>
          </a:xfrm>
        </p:grpSpPr>
        <p:grpSp>
          <p:nvGrpSpPr>
            <p:cNvPr id="6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81" name="Arc 39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9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70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grpSp>
          <p:nvGrpSpPr>
            <p:cNvPr id="71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029245" y="1980014"/>
            <a:ext cx="208697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138822" y="4197994"/>
            <a:ext cx="186781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21489" y="234863"/>
            <a:ext cx="770072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497" y="-19682"/>
            <a:ext cx="749132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96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21489" y="6349435"/>
            <a:ext cx="8460426" cy="379022"/>
            <a:chOff x="75" y="3920"/>
            <a:chExt cx="5385" cy="2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9031" indent="-479031" defTabSz="912750">
                <a:tabLst>
                  <a:tab pos="475800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82163" y="142986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18" name="Slide Number Placeholder 1" hidden="1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grpSp>
        <p:nvGrpSpPr>
          <p:cNvPr id="20" name="McKSticker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799599" y="297662"/>
            <a:ext cx="1116011" cy="215900"/>
            <a:chOff x="4803" y="376"/>
            <a:chExt cx="703" cy="136"/>
          </a:xfrm>
        </p:grpSpPr>
        <p:cxnSp>
          <p:nvCxnSpPr>
            <p:cNvPr id="21" name="AutoShape 19"/>
            <p:cNvCxnSpPr>
              <a:cxnSpLocks noChangeShapeType="1"/>
              <a:stCxn id="22" idx="4"/>
              <a:endCxn id="22" idx="6"/>
            </p:cNvCxnSpPr>
            <p:nvPr userDrawn="1"/>
          </p:nvCxnSpPr>
          <p:spPr bwMode="gray">
            <a:xfrm>
              <a:off x="4803" y="512"/>
              <a:ext cx="70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2" name="StickerRectangle"/>
            <p:cNvSpPr>
              <a:spLocks noChangeArrowheads="1"/>
            </p:cNvSpPr>
            <p:nvPr userDrawn="1"/>
          </p:nvSpPr>
          <p:spPr bwMode="gray">
            <a:xfrm>
              <a:off x="4803" y="376"/>
              <a:ext cx="703" cy="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27432" tIns="0" rIns="0" bIns="27432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r" defTabSz="913529"/>
              <a:r>
                <a:rPr lang="en-US" sz="1200" smtClean="0">
                  <a:solidFill>
                    <a:srgbClr val="808080"/>
                  </a:solidFill>
                  <a:latin typeface="Arial"/>
                  <a:ea typeface="+mn-ea"/>
                  <a:cs typeface="Arial" pitchFamily="34" charset="0"/>
                </a:rPr>
                <a:t>ILLUSTRATIVE</a:t>
              </a:r>
              <a:endParaRPr lang="en-US" smtClean="0">
                <a:solidFill>
                  <a:srgbClr val="000000"/>
                </a:solidFill>
                <a:latin typeface="Arial"/>
                <a:ea typeface="+mn-ea"/>
                <a:cs typeface="Arial" pitchFamily="34" charset="0"/>
              </a:endParaRPr>
            </a:p>
          </p:txBody>
        </p:sp>
        <p:cxnSp>
          <p:nvCxnSpPr>
            <p:cNvPr id="23" name="AutoShape 21"/>
            <p:cNvCxnSpPr>
              <a:cxnSpLocks noChangeShapeType="1"/>
              <a:stCxn id="22" idx="2"/>
              <a:endCxn id="22" idx="4"/>
            </p:cNvCxnSpPr>
            <p:nvPr userDrawn="1"/>
          </p:nvCxnSpPr>
          <p:spPr bwMode="gray">
            <a:xfrm>
              <a:off x="4803" y="376"/>
              <a:ext cx="0" cy="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24" name="LegendBoxe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8136458" y="730124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7822218" y="730116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50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</p:grpSp>
      <p:sp>
        <p:nvSpPr>
          <p:cNvPr id="1033" name="doc id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246616" y="19977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750"/>
            <a:endParaRPr lang="en-US" sz="800" dirty="0">
              <a:solidFill>
                <a:srgbClr val="FFFFFF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056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</p:sldLayoutIdLst>
  <p:hf hdr="0" ftr="0" dt="0"/>
  <p:txStyles>
    <p:titleStyle>
      <a:lvl1pPr algn="l" defTabSz="912750" rtl="0" eaLnBrk="1" fontAlgn="base" hangingPunct="1">
        <a:spcBef>
          <a:spcPct val="0"/>
        </a:spcBef>
        <a:spcAft>
          <a:spcPct val="0"/>
        </a:spcAft>
        <a:tabLst>
          <a:tab pos="275120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081"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173"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259"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342" algn="l" defTabSz="9127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40" indent="-195822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081" indent="-267029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304" indent="-158600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380" indent="-132705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380" indent="-132705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380" indent="-132705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380" indent="-132705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380" indent="-132705" algn="l" defTabSz="9127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81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173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259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342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429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514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599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686" algn="l" defTabSz="9321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3295138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9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863" y="55354"/>
            <a:ext cx="1070215" cy="774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Rectangle 58"/>
          <p:cNvSpPr/>
          <p:nvPr>
            <p:custDataLst>
              <p:tags r:id="rId10"/>
            </p:custDataLst>
          </p:nvPr>
        </p:nvSpPr>
        <p:spPr>
          <a:xfrm>
            <a:off x="0" y="-30192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36" tIns="46619" rIns="93236" bIns="46619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61" name="LegendMoons" hidden="1"/>
          <p:cNvGrpSpPr/>
          <p:nvPr>
            <p:custDataLst>
              <p:tags r:id="rId11"/>
            </p:custDataLst>
          </p:nvPr>
        </p:nvGrpSpPr>
        <p:grpSpPr>
          <a:xfrm>
            <a:off x="8068261" y="730116"/>
            <a:ext cx="847347" cy="1333054"/>
            <a:chOff x="7769225" y="2105025"/>
            <a:chExt cx="830430" cy="1306516"/>
          </a:xfrm>
        </p:grpSpPr>
        <p:grpSp>
          <p:nvGrpSpPr>
            <p:cNvPr id="6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81" name="Arc 39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9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70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grpSp>
          <p:nvGrpSpPr>
            <p:cNvPr id="71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29245" y="1980012"/>
            <a:ext cx="208697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138822" y="4197992"/>
            <a:ext cx="186781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21489" y="234863"/>
            <a:ext cx="770072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95" y="-19682"/>
            <a:ext cx="749132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94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21489" y="6349435"/>
            <a:ext cx="8460426" cy="379022"/>
            <a:chOff x="75" y="3920"/>
            <a:chExt cx="5385" cy="2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9133" indent="-479133" defTabSz="912944">
                <a:tabLst>
                  <a:tab pos="475900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82161" y="142986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18" name="Slide Number Placeholder 1" hidden="1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grpSp>
        <p:nvGrpSpPr>
          <p:cNvPr id="20" name="McKSticker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799597" y="297662"/>
            <a:ext cx="1116011" cy="215900"/>
            <a:chOff x="4803" y="376"/>
            <a:chExt cx="703" cy="136"/>
          </a:xfrm>
        </p:grpSpPr>
        <p:cxnSp>
          <p:nvCxnSpPr>
            <p:cNvPr id="21" name="AutoShape 19"/>
            <p:cNvCxnSpPr>
              <a:cxnSpLocks noChangeShapeType="1"/>
              <a:stCxn id="22" idx="4"/>
              <a:endCxn id="22" idx="6"/>
            </p:cNvCxnSpPr>
            <p:nvPr userDrawn="1"/>
          </p:nvCxnSpPr>
          <p:spPr bwMode="gray">
            <a:xfrm>
              <a:off x="4803" y="512"/>
              <a:ext cx="70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2" name="StickerRectangle"/>
            <p:cNvSpPr>
              <a:spLocks noChangeArrowheads="1"/>
            </p:cNvSpPr>
            <p:nvPr userDrawn="1"/>
          </p:nvSpPr>
          <p:spPr bwMode="gray">
            <a:xfrm>
              <a:off x="4803" y="376"/>
              <a:ext cx="703" cy="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27432" tIns="0" rIns="0" bIns="27432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r" defTabSz="913722"/>
              <a:r>
                <a:rPr lang="en-US" sz="1200" smtClean="0">
                  <a:solidFill>
                    <a:srgbClr val="808080"/>
                  </a:solidFill>
                  <a:latin typeface="Arial"/>
                  <a:ea typeface="+mn-ea"/>
                  <a:cs typeface="Arial" pitchFamily="34" charset="0"/>
                </a:rPr>
                <a:t>ILLUSTRATIVE</a:t>
              </a:r>
              <a:endParaRPr lang="en-US" smtClean="0">
                <a:solidFill>
                  <a:srgbClr val="000000"/>
                </a:solidFill>
                <a:latin typeface="Arial"/>
                <a:ea typeface="+mn-ea"/>
                <a:cs typeface="Arial" pitchFamily="34" charset="0"/>
              </a:endParaRPr>
            </a:p>
          </p:txBody>
        </p:sp>
        <p:cxnSp>
          <p:nvCxnSpPr>
            <p:cNvPr id="23" name="AutoShape 21"/>
            <p:cNvCxnSpPr>
              <a:cxnSpLocks noChangeShapeType="1"/>
              <a:stCxn id="22" idx="2"/>
              <a:endCxn id="22" idx="4"/>
            </p:cNvCxnSpPr>
            <p:nvPr userDrawn="1"/>
          </p:nvCxnSpPr>
          <p:spPr bwMode="gray">
            <a:xfrm>
              <a:off x="4803" y="376"/>
              <a:ext cx="0" cy="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24" name="LegendBox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36458" y="730122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822216" y="730116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944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</p:grpSp>
      <p:sp>
        <p:nvSpPr>
          <p:cNvPr id="1033" name="doc id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246615" y="19977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944"/>
            <a:endParaRPr lang="en-US" sz="800" dirty="0">
              <a:solidFill>
                <a:srgbClr val="FFFFFF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32072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</p:sldLayoutIdLst>
  <p:hf hdr="0" ftr="0" dt="0"/>
  <p:txStyles>
    <p:titleStyle>
      <a:lvl1pPr algn="l" defTabSz="912944" rtl="0" eaLnBrk="1" fontAlgn="base" hangingPunct="1">
        <a:spcBef>
          <a:spcPct val="0"/>
        </a:spcBef>
        <a:spcAft>
          <a:spcPct val="0"/>
        </a:spcAft>
        <a:tabLst>
          <a:tab pos="27517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81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369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555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738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82" indent="-19586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181" indent="-267086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437" indent="-1586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81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69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55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38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24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06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291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478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5134504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1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861" y="55352"/>
            <a:ext cx="1070215" cy="774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Rectangle 58"/>
          <p:cNvSpPr/>
          <p:nvPr>
            <p:custDataLst>
              <p:tags r:id="rId10"/>
            </p:custDataLst>
          </p:nvPr>
        </p:nvSpPr>
        <p:spPr>
          <a:xfrm>
            <a:off x="0" y="-30194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61" name="LegendMoons" hidden="1"/>
          <p:cNvGrpSpPr/>
          <p:nvPr>
            <p:custDataLst>
              <p:tags r:id="rId11"/>
            </p:custDataLst>
          </p:nvPr>
        </p:nvGrpSpPr>
        <p:grpSpPr>
          <a:xfrm>
            <a:off x="8068259" y="730116"/>
            <a:ext cx="847347" cy="1333054"/>
            <a:chOff x="7769225" y="2105025"/>
            <a:chExt cx="830430" cy="1306516"/>
          </a:xfrm>
        </p:grpSpPr>
        <p:grpSp>
          <p:nvGrpSpPr>
            <p:cNvPr id="6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81" name="Arc 39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9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70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grpSp>
          <p:nvGrpSpPr>
            <p:cNvPr id="71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29245" y="1980010"/>
            <a:ext cx="208697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138822" y="4197990"/>
            <a:ext cx="186781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21489" y="234863"/>
            <a:ext cx="770072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93" y="-19682"/>
            <a:ext cx="749132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92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21489" y="6349435"/>
            <a:ext cx="8460426" cy="379022"/>
            <a:chOff x="75" y="3920"/>
            <a:chExt cx="5385" cy="2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9235" indent="-479235" defTabSz="913138">
                <a:tabLst>
                  <a:tab pos="476000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82159" y="142986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18" name="Slide Number Placeholder 1" hidden="1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grpSp>
        <p:nvGrpSpPr>
          <p:cNvPr id="20" name="McKSticker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799595" y="297662"/>
            <a:ext cx="1116011" cy="215900"/>
            <a:chOff x="4803" y="376"/>
            <a:chExt cx="703" cy="136"/>
          </a:xfrm>
        </p:grpSpPr>
        <p:cxnSp>
          <p:nvCxnSpPr>
            <p:cNvPr id="21" name="AutoShape 19"/>
            <p:cNvCxnSpPr>
              <a:cxnSpLocks noChangeShapeType="1"/>
              <a:stCxn id="22" idx="4"/>
              <a:endCxn id="22" idx="6"/>
            </p:cNvCxnSpPr>
            <p:nvPr userDrawn="1"/>
          </p:nvCxnSpPr>
          <p:spPr bwMode="gray">
            <a:xfrm>
              <a:off x="4803" y="512"/>
              <a:ext cx="70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2" name="StickerRectangle"/>
            <p:cNvSpPr>
              <a:spLocks noChangeArrowheads="1"/>
            </p:cNvSpPr>
            <p:nvPr userDrawn="1"/>
          </p:nvSpPr>
          <p:spPr bwMode="gray">
            <a:xfrm>
              <a:off x="4803" y="376"/>
              <a:ext cx="703" cy="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27432" tIns="0" rIns="0" bIns="27432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r" defTabSz="913915"/>
              <a:r>
                <a:rPr lang="en-US" sz="1200" smtClean="0">
                  <a:solidFill>
                    <a:srgbClr val="808080"/>
                  </a:solidFill>
                  <a:latin typeface="Arial"/>
                  <a:ea typeface="+mn-ea"/>
                  <a:cs typeface="Arial" pitchFamily="34" charset="0"/>
                </a:rPr>
                <a:t>ILLUSTRATIVE</a:t>
              </a:r>
              <a:endParaRPr lang="en-US" smtClean="0">
                <a:solidFill>
                  <a:srgbClr val="000000"/>
                </a:solidFill>
                <a:latin typeface="Arial"/>
                <a:ea typeface="+mn-ea"/>
                <a:cs typeface="Arial" pitchFamily="34" charset="0"/>
              </a:endParaRPr>
            </a:p>
          </p:txBody>
        </p:sp>
        <p:cxnSp>
          <p:nvCxnSpPr>
            <p:cNvPr id="23" name="AutoShape 21"/>
            <p:cNvCxnSpPr>
              <a:cxnSpLocks noChangeShapeType="1"/>
              <a:stCxn id="22" idx="2"/>
              <a:endCxn id="22" idx="4"/>
            </p:cNvCxnSpPr>
            <p:nvPr userDrawn="1"/>
          </p:nvCxnSpPr>
          <p:spPr bwMode="gray">
            <a:xfrm>
              <a:off x="4803" y="376"/>
              <a:ext cx="0" cy="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24" name="LegendBox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36458" y="730120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822214" y="730116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38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</p:grpSp>
      <p:sp>
        <p:nvSpPr>
          <p:cNvPr id="1033" name="doc id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246613" y="19977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/>
            <a:endParaRPr lang="en-US" sz="800" dirty="0">
              <a:solidFill>
                <a:srgbClr val="FFFFFF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32253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6852937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3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857" y="55348"/>
            <a:ext cx="1070215" cy="774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Rectangle 58"/>
          <p:cNvSpPr/>
          <p:nvPr>
            <p:custDataLst>
              <p:tags r:id="rId10"/>
            </p:custDataLst>
          </p:nvPr>
        </p:nvSpPr>
        <p:spPr>
          <a:xfrm>
            <a:off x="0" y="-30198"/>
            <a:ext cx="9144000" cy="1921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61" name="LegendMoons" hidden="1"/>
          <p:cNvGrpSpPr/>
          <p:nvPr>
            <p:custDataLst>
              <p:tags r:id="rId11"/>
            </p:custDataLst>
          </p:nvPr>
        </p:nvGrpSpPr>
        <p:grpSpPr>
          <a:xfrm>
            <a:off x="8068255" y="730116"/>
            <a:ext cx="847347" cy="1333054"/>
            <a:chOff x="7769225" y="2105025"/>
            <a:chExt cx="830430" cy="1306516"/>
          </a:xfrm>
        </p:grpSpPr>
        <p:grpSp>
          <p:nvGrpSpPr>
            <p:cNvPr id="6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81" name="Arc 39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6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69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70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grpSp>
          <p:nvGrpSpPr>
            <p:cNvPr id="71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  <p:sp>
            <p:nvSpPr>
              <p:cNvPr id="7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solidFill>
                    <a:srgbClr val="000000"/>
                  </a:solidFill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50018" y="1980946"/>
            <a:ext cx="204543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Last Modified 10/8/2012 9:0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138822" y="4197986"/>
            <a:ext cx="186781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ea typeface="+mn-ea"/>
              </a:rPr>
              <a:t>Printed 10/4/2012 9:49 AM W. Europe Standard Time</a:t>
            </a:r>
            <a:endParaRPr lang="en-US" smtClean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21489" y="234863"/>
            <a:ext cx="770072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89" y="-19682"/>
            <a:ext cx="749132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88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21489" y="6349435"/>
            <a:ext cx="8460426" cy="379022"/>
            <a:chOff x="75" y="3920"/>
            <a:chExt cx="5385" cy="2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9439" indent="-479439" defTabSz="913526">
                <a:tabLst>
                  <a:tab pos="476200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82155" y="142986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18" name="Slide Number Placeholder 1" hidden="1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8702593" y="6569914"/>
            <a:ext cx="213009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  <p:grpSp>
        <p:nvGrpSpPr>
          <p:cNvPr id="20" name="McKSticker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799591" y="297662"/>
            <a:ext cx="1116011" cy="215900"/>
            <a:chOff x="4803" y="376"/>
            <a:chExt cx="703" cy="136"/>
          </a:xfrm>
        </p:grpSpPr>
        <p:cxnSp>
          <p:nvCxnSpPr>
            <p:cNvPr id="21" name="AutoShape 19"/>
            <p:cNvCxnSpPr>
              <a:cxnSpLocks noChangeShapeType="1"/>
              <a:stCxn id="22" idx="4"/>
              <a:endCxn id="22" idx="6"/>
            </p:cNvCxnSpPr>
            <p:nvPr userDrawn="1"/>
          </p:nvCxnSpPr>
          <p:spPr bwMode="gray">
            <a:xfrm>
              <a:off x="4803" y="512"/>
              <a:ext cx="70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2" name="StickerRectangle"/>
            <p:cNvSpPr>
              <a:spLocks noChangeArrowheads="1"/>
            </p:cNvSpPr>
            <p:nvPr userDrawn="1"/>
          </p:nvSpPr>
          <p:spPr bwMode="gray">
            <a:xfrm>
              <a:off x="4803" y="376"/>
              <a:ext cx="703" cy="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27432" tIns="0" rIns="0" bIns="27432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r" defTabSz="914303"/>
              <a:r>
                <a:rPr lang="en-US" sz="1200" smtClean="0">
                  <a:solidFill>
                    <a:srgbClr val="808080"/>
                  </a:solidFill>
                  <a:latin typeface="Arial"/>
                  <a:ea typeface="+mn-ea"/>
                  <a:cs typeface="Arial" pitchFamily="34" charset="0"/>
                </a:rPr>
                <a:t>ILLUSTRATIVE</a:t>
              </a:r>
              <a:endParaRPr lang="en-US" smtClean="0">
                <a:solidFill>
                  <a:srgbClr val="000000"/>
                </a:solidFill>
                <a:latin typeface="Arial"/>
                <a:ea typeface="+mn-ea"/>
                <a:cs typeface="Arial" pitchFamily="34" charset="0"/>
              </a:endParaRPr>
            </a:p>
          </p:txBody>
        </p:sp>
        <p:cxnSp>
          <p:nvCxnSpPr>
            <p:cNvPr id="23" name="AutoShape 21"/>
            <p:cNvCxnSpPr>
              <a:cxnSpLocks noChangeShapeType="1"/>
              <a:stCxn id="22" idx="2"/>
              <a:endCxn id="22" idx="4"/>
            </p:cNvCxnSpPr>
            <p:nvPr userDrawn="1"/>
          </p:nvCxnSpPr>
          <p:spPr bwMode="gray">
            <a:xfrm>
              <a:off x="4803" y="376"/>
              <a:ext cx="0" cy="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24" name="LegendBox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36458" y="730116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822210" y="730116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4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C5EA7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+mn-ea"/>
                </a:rPr>
                <a:t>Legend</a:t>
              </a:r>
            </a:p>
          </p:txBody>
        </p:sp>
      </p:grpSp>
      <p:sp>
        <p:nvSpPr>
          <p:cNvPr id="1033" name="doc id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246609" y="19977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FFFFFF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4262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antonio-requena.freeiz.com/showclustermap.php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ew-ig.eu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://www.nerghy.eu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5837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  <p:pic>
        <p:nvPicPr>
          <p:cNvPr id="58372" name="Picture 3" descr="FCH JU - Power Point 0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3" name="Rectangle 5"/>
          <p:cNvSpPr>
            <a:spLocks/>
          </p:cNvSpPr>
          <p:nvPr/>
        </p:nvSpPr>
        <p:spPr bwMode="auto">
          <a:xfrm>
            <a:off x="3563946" y="3716349"/>
            <a:ext cx="3240087" cy="147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 anchor="ctr"/>
          <a:lstStyle/>
          <a:p>
            <a:pPr marL="342537" indent="-342537" algn="r" defTabSz="456720"/>
            <a:r>
              <a:rPr lang="fr-BE" sz="4400">
                <a:solidFill>
                  <a:schemeClr val="bg2"/>
                </a:solidFill>
              </a:rPr>
              <a:t/>
            </a:r>
            <a:br>
              <a:rPr lang="fr-BE" sz="4400">
                <a:solidFill>
                  <a:schemeClr val="bg2"/>
                </a:solidFill>
              </a:rPr>
            </a:br>
            <a:endParaRPr lang="en-GB" sz="2000">
              <a:solidFill>
                <a:srgbClr val="3366CC"/>
              </a:solidFill>
            </a:endParaRPr>
          </a:p>
        </p:txBody>
      </p:sp>
      <p:sp>
        <p:nvSpPr>
          <p:cNvPr id="58374" name="Rectangle 6"/>
          <p:cNvSpPr>
            <a:spLocks/>
          </p:cNvSpPr>
          <p:nvPr/>
        </p:nvSpPr>
        <p:spPr bwMode="auto">
          <a:xfrm>
            <a:off x="2484438" y="4724400"/>
            <a:ext cx="640080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/>
          <a:lstStyle/>
          <a:p>
            <a:pPr marL="342537" indent="-342537" algn="ctr" defTabSz="456720">
              <a:buClr>
                <a:srgbClr val="194C84"/>
              </a:buClr>
            </a:pPr>
            <a:endParaRPr lang="en-US">
              <a:solidFill>
                <a:srgbClr val="000099"/>
              </a:solidFill>
              <a:latin typeface="Arial" pitchFamily="34" charset="0"/>
            </a:endParaRPr>
          </a:p>
        </p:txBody>
      </p:sp>
      <p:sp>
        <p:nvSpPr>
          <p:cNvPr id="58375" name="Rectangle 7"/>
          <p:cNvSpPr>
            <a:spLocks noChangeArrowheads="1"/>
          </p:cNvSpPr>
          <p:nvPr/>
        </p:nvSpPr>
        <p:spPr bwMode="auto">
          <a:xfrm>
            <a:off x="611188" y="6308734"/>
            <a:ext cx="1597411" cy="280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44" tIns="45671" rIns="91344" bIns="45671">
            <a:spAutoFit/>
          </a:bodyPr>
          <a:lstStyle/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sz="1200">
                <a:solidFill>
                  <a:srgbClr val="3366CC"/>
                </a:solidFill>
              </a:rPr>
              <a:t>http://www.fch-ju.eu/</a:t>
            </a:r>
          </a:p>
        </p:txBody>
      </p:sp>
      <p:sp>
        <p:nvSpPr>
          <p:cNvPr id="58376" name="Rectangle 3"/>
          <p:cNvSpPr txBox="1">
            <a:spLocks/>
          </p:cNvSpPr>
          <p:nvPr/>
        </p:nvSpPr>
        <p:spPr bwMode="auto">
          <a:xfrm>
            <a:off x="395298" y="3405198"/>
            <a:ext cx="8353425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/>
          <a:lstStyle>
            <a:lvl1pPr defTabSz="457200"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Monotype Sorts" pitchFamily="2" charset="2"/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Monotype Sorts" pitchFamily="2" charset="2"/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Monotype Sorts" pitchFamily="2" charset="2"/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Monotype Sorts" pitchFamily="2" charset="2"/>
              <a:defRPr>
                <a:solidFill>
                  <a:schemeClr val="tx1"/>
                </a:solidFill>
                <a:latin typeface="Tahoma" pitchFamily="34" charset="0"/>
                <a:ea typeface="ヒラギノ角ゴ Pro W3"/>
                <a:cs typeface="ヒラギノ角ゴ Pro W3"/>
              </a:defRPr>
            </a:lvl9pPr>
          </a:lstStyle>
          <a:p>
            <a:pPr algn="r">
              <a:lnSpc>
                <a:spcPct val="80000"/>
              </a:lnSpc>
              <a:buClr>
                <a:srgbClr val="33CC33"/>
              </a:buClr>
              <a:buFont typeface="Arial" pitchFamily="34" charset="0"/>
              <a:buNone/>
            </a:pPr>
            <a:endParaRPr lang="en-GB" sz="3200" b="1">
              <a:latin typeface="Arial" pitchFamily="34" charset="0"/>
            </a:endParaRPr>
          </a:p>
          <a:p>
            <a:pPr algn="r">
              <a:lnSpc>
                <a:spcPct val="80000"/>
              </a:lnSpc>
              <a:buClr>
                <a:srgbClr val="33CC33"/>
              </a:buClr>
              <a:buFont typeface="Arial" pitchFamily="34" charset="0"/>
              <a:buNone/>
            </a:pPr>
            <a:endParaRPr lang="en-GB" sz="3200" b="1">
              <a:latin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7208" y="3718863"/>
            <a:ext cx="8137524" cy="2585224"/>
          </a:xfrm>
          <a:prstGeom prst="rect">
            <a:avLst/>
          </a:prstGeom>
          <a:noFill/>
        </p:spPr>
        <p:txBody>
          <a:bodyPr lIns="91344" tIns="45671" rIns="91344" bIns="45671">
            <a:spAutoFit/>
          </a:bodyPr>
          <a:lstStyle/>
          <a:p>
            <a:pPr algn="r">
              <a:defRPr/>
            </a:pPr>
            <a:endParaRPr lang="en-GB" sz="3200" i="1" dirty="0">
              <a:solidFill>
                <a:srgbClr val="194C8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MS PGothic" pitchFamily="34" charset="-128"/>
              <a:cs typeface="Arial" charset="0"/>
            </a:endParaRPr>
          </a:p>
          <a:p>
            <a:pPr algn="r">
              <a:defRPr/>
            </a:pPr>
            <a:endParaRPr lang="en-GB" sz="3200" i="1" dirty="0">
              <a:solidFill>
                <a:srgbClr val="194C8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MS PGothic" pitchFamily="34" charset="-128"/>
              <a:cs typeface="Arial" charset="0"/>
            </a:endParaRPr>
          </a:p>
          <a:p>
            <a:pPr algn="r">
              <a:defRPr/>
            </a:pPr>
            <a:endParaRPr lang="en-GB" sz="2000" i="1" dirty="0">
              <a:solidFill>
                <a:srgbClr val="194C8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MS PGothic" pitchFamily="34" charset="-128"/>
              <a:cs typeface="Arial" charset="0"/>
            </a:endParaRPr>
          </a:p>
          <a:p>
            <a:pPr algn="r">
              <a:defRPr/>
            </a:pPr>
            <a:endParaRPr lang="en-GB" sz="2000" i="1" dirty="0">
              <a:solidFill>
                <a:srgbClr val="194C8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MS PGothic" pitchFamily="34" charset="-128"/>
              <a:cs typeface="Arial" charset="0"/>
            </a:endParaRPr>
          </a:p>
          <a:p>
            <a:pPr algn="r">
              <a:defRPr/>
            </a:pPr>
            <a:r>
              <a:rPr lang="en-GB" sz="2000" i="1" dirty="0" smtClean="0">
                <a:solidFill>
                  <a:srgbClr val="194C8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MS PGothic" pitchFamily="34" charset="-128"/>
                <a:cs typeface="Arial" charset="0"/>
              </a:rPr>
              <a:t>Jean-Luc Delplancke, Head of Program Unit</a:t>
            </a:r>
          </a:p>
          <a:p>
            <a:pPr algn="r">
              <a:defRPr/>
            </a:pPr>
            <a:r>
              <a:rPr lang="en-GB" sz="2000" i="1" dirty="0" smtClean="0">
                <a:solidFill>
                  <a:srgbClr val="194C8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MS PGothic" pitchFamily="34" charset="-128"/>
                <a:cs typeface="Arial" charset="0"/>
              </a:rPr>
              <a:t>Fuel Cells and Hydrogen Joint Undertaking</a:t>
            </a:r>
            <a:endParaRPr lang="en-GB" sz="2000" i="1" dirty="0">
              <a:solidFill>
                <a:srgbClr val="194C8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MS PGothic" pitchFamily="34" charset="-128"/>
              <a:cs typeface="Arial" charset="0"/>
            </a:endParaRPr>
          </a:p>
          <a:p>
            <a:pPr algn="r">
              <a:defRPr/>
            </a:pPr>
            <a:r>
              <a:rPr lang="en-GB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MS PGothic" pitchFamily="34" charset="-128"/>
                <a:cs typeface="ヒラギノ角ゴ Pro W3" charset="0"/>
              </a:rPr>
              <a:t>November 2013</a:t>
            </a:r>
            <a:endParaRPr lang="en-GB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MS PGothic" pitchFamily="34" charset="-128"/>
              <a:cs typeface="ヒラギノ角ゴ Pro W3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6903" y="3647182"/>
            <a:ext cx="8017822" cy="1077119"/>
          </a:xfrm>
          <a:prstGeom prst="rect">
            <a:avLst/>
          </a:prstGeom>
          <a:noFill/>
        </p:spPr>
        <p:txBody>
          <a:bodyPr wrap="square" lIns="91344" tIns="45671" rIns="91344" bIns="45671" rtlCol="0">
            <a:spAutoFit/>
          </a:bodyPr>
          <a:lstStyle/>
          <a:p>
            <a:pPr algn="ctr"/>
            <a:r>
              <a:rPr lang="nl-BE" sz="3200" b="1" dirty="0" smtClean="0">
                <a:solidFill>
                  <a:schemeClr val="tx2"/>
                </a:solidFill>
              </a:rPr>
              <a:t>2013 Program Review Days</a:t>
            </a:r>
          </a:p>
          <a:p>
            <a:pPr algn="ctr"/>
            <a:r>
              <a:rPr lang="nl-BE" sz="3200" b="1" dirty="0" err="1" smtClean="0">
                <a:solidFill>
                  <a:schemeClr val="tx2"/>
                </a:solidFill>
              </a:rPr>
              <a:t>Introduction</a:t>
            </a:r>
            <a:endParaRPr lang="nl-BE" sz="3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072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6971" y="32204"/>
            <a:ext cx="5409220" cy="1143000"/>
          </a:xfrm>
        </p:spPr>
        <p:txBody>
          <a:bodyPr/>
          <a:lstStyle/>
          <a:p>
            <a:r>
              <a:rPr lang="nl-BE" sz="3200" dirty="0" err="1" smtClean="0"/>
              <a:t>Membership</a:t>
            </a:r>
            <a:r>
              <a:rPr lang="nl-BE" sz="3200" dirty="0" smtClean="0"/>
              <a:t> of the </a:t>
            </a:r>
            <a:r>
              <a:rPr lang="nl-BE" sz="3200" dirty="0" err="1" smtClean="0"/>
              <a:t>participants</a:t>
            </a:r>
            <a:endParaRPr lang="nl-BE" sz="3200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3034039"/>
              </p:ext>
            </p:extLst>
          </p:nvPr>
        </p:nvGraphicFramePr>
        <p:xfrm>
          <a:off x="0" y="143988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8656897"/>
              </p:ext>
            </p:extLst>
          </p:nvPr>
        </p:nvGraphicFramePr>
        <p:xfrm>
          <a:off x="4482935" y="149035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9212815"/>
              </p:ext>
            </p:extLst>
          </p:nvPr>
        </p:nvGraphicFramePr>
        <p:xfrm>
          <a:off x="4570319" y="4183083"/>
          <a:ext cx="4573681" cy="2672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4015308"/>
              </p:ext>
            </p:extLst>
          </p:nvPr>
        </p:nvGraphicFramePr>
        <p:xfrm>
          <a:off x="0" y="4193659"/>
          <a:ext cx="4573681" cy="265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7666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4525" y="0"/>
            <a:ext cx="3580420" cy="961448"/>
          </a:xfrm>
        </p:spPr>
        <p:txBody>
          <a:bodyPr/>
          <a:lstStyle/>
          <a:p>
            <a:r>
              <a:rPr lang="nl-BE" sz="3200" dirty="0" smtClean="0"/>
              <a:t>Calls 2008 - 2012</a:t>
            </a:r>
            <a:endParaRPr lang="nl-BE" sz="3200" dirty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93" y="961448"/>
            <a:ext cx="6629400" cy="560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970816" y="3301340"/>
            <a:ext cx="2084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err="1" smtClean="0"/>
              <a:t>All</a:t>
            </a:r>
            <a:r>
              <a:rPr lang="nl-BE" dirty="0" smtClean="0"/>
              <a:t> Activity </a:t>
            </a:r>
            <a:r>
              <a:rPr lang="nl-BE" dirty="0" err="1" smtClean="0"/>
              <a:t>Areas</a:t>
            </a:r>
            <a:endParaRPr lang="nl-BE" dirty="0" smtClean="0"/>
          </a:p>
          <a:p>
            <a:r>
              <a:rPr lang="nl-BE" dirty="0" smtClean="0"/>
              <a:t>131 </a:t>
            </a:r>
            <a:r>
              <a:rPr lang="nl-BE" dirty="0" err="1" smtClean="0"/>
              <a:t>projects</a:t>
            </a:r>
            <a:endParaRPr lang="nl-BE" dirty="0" smtClean="0"/>
          </a:p>
        </p:txBody>
      </p:sp>
      <p:sp>
        <p:nvSpPr>
          <p:cNvPr id="4" name="Rectangle 3"/>
          <p:cNvSpPr/>
          <p:nvPr/>
        </p:nvSpPr>
        <p:spPr>
          <a:xfrm>
            <a:off x="105393" y="160754"/>
            <a:ext cx="4572000" cy="646331"/>
          </a:xfrm>
          <a:prstGeom prst="rect">
            <a:avLst/>
          </a:prstGeom>
          <a:solidFill>
            <a:srgbClr val="FFFFFF"/>
          </a:solidFill>
        </p:spPr>
        <p:txBody>
          <a:bodyPr>
            <a:spAutoFit/>
          </a:bodyPr>
          <a:lstStyle/>
          <a:p>
            <a:r>
              <a:rPr lang="en-GB" u="sng" dirty="0">
                <a:hlinkClick r:id="rId3"/>
              </a:rPr>
              <a:t>http://antonio-requena.freeiz.com/showclustermap.php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98017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995" y="139081"/>
            <a:ext cx="4494820" cy="1143000"/>
          </a:xfrm>
        </p:spPr>
        <p:txBody>
          <a:bodyPr/>
          <a:lstStyle/>
          <a:p>
            <a:r>
              <a:rPr lang="nl-BE" sz="3200" dirty="0" err="1" smtClean="0"/>
              <a:t>Geographic</a:t>
            </a:r>
            <a:r>
              <a:rPr lang="nl-BE" sz="3200" dirty="0" smtClean="0"/>
              <a:t> </a:t>
            </a:r>
            <a:r>
              <a:rPr lang="nl-BE" sz="3200" dirty="0" err="1" smtClean="0"/>
              <a:t>origin</a:t>
            </a:r>
            <a:r>
              <a:rPr lang="nl-BE" sz="3200" dirty="0" smtClean="0"/>
              <a:t> of the </a:t>
            </a:r>
            <a:r>
              <a:rPr lang="nl-BE" sz="3200" dirty="0" err="1" smtClean="0"/>
              <a:t>participants</a:t>
            </a:r>
            <a:endParaRPr lang="nl-BE" sz="3200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0824447"/>
              </p:ext>
            </p:extLst>
          </p:nvPr>
        </p:nvGraphicFramePr>
        <p:xfrm>
          <a:off x="89065" y="149925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2477481"/>
              </p:ext>
            </p:extLst>
          </p:nvPr>
        </p:nvGraphicFramePr>
        <p:xfrm>
          <a:off x="4381995" y="398417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0585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3200" dirty="0" smtClean="0"/>
              <a:t>2013 Program Review Days</a:t>
            </a:r>
            <a:endParaRPr lang="nl-BE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176322"/>
            <a:ext cx="8229600" cy="4248229"/>
          </a:xfrm>
        </p:spPr>
        <p:txBody>
          <a:bodyPr/>
          <a:lstStyle/>
          <a:p>
            <a:r>
              <a:rPr lang="nl-BE" sz="2000" dirty="0" smtClean="0"/>
              <a:t>131 </a:t>
            </a:r>
            <a:r>
              <a:rPr lang="nl-BE" sz="2000" dirty="0" err="1" smtClean="0"/>
              <a:t>Projects</a:t>
            </a:r>
            <a:r>
              <a:rPr lang="nl-BE" sz="2000" dirty="0" smtClean="0"/>
              <a:t> </a:t>
            </a:r>
            <a:r>
              <a:rPr lang="nl-BE" sz="2000" dirty="0" err="1" smtClean="0"/>
              <a:t>for</a:t>
            </a:r>
            <a:r>
              <a:rPr lang="nl-BE" sz="2000" dirty="0" smtClean="0"/>
              <a:t> calls 2008-2012   &gt;&lt;   1,5 Days</a:t>
            </a:r>
          </a:p>
          <a:p>
            <a:r>
              <a:rPr lang="nl-BE" sz="2000" dirty="0" smtClean="0"/>
              <a:t>New </a:t>
            </a:r>
            <a:r>
              <a:rPr lang="nl-BE" sz="2000" dirty="0" err="1" smtClean="0"/>
              <a:t>structure</a:t>
            </a:r>
            <a:r>
              <a:rPr lang="nl-BE" sz="2000" dirty="0" smtClean="0"/>
              <a:t> of the Program Review Days (</a:t>
            </a:r>
            <a:r>
              <a:rPr lang="nl-BE" sz="2000" dirty="0" err="1" smtClean="0"/>
              <a:t>PRDs</a:t>
            </a:r>
            <a:r>
              <a:rPr lang="nl-BE" sz="2000" dirty="0" smtClean="0"/>
              <a:t>) </a:t>
            </a:r>
            <a:r>
              <a:rPr lang="nl-BE" sz="2000" dirty="0" err="1" smtClean="0"/>
              <a:t>approved</a:t>
            </a:r>
            <a:r>
              <a:rPr lang="nl-BE" sz="2000" dirty="0" smtClean="0"/>
              <a:t> </a:t>
            </a:r>
            <a:r>
              <a:rPr lang="nl-BE" sz="2000" dirty="0" err="1" smtClean="0"/>
              <a:t>by</a:t>
            </a:r>
            <a:r>
              <a:rPr lang="nl-BE" sz="2000" dirty="0" smtClean="0"/>
              <a:t> the </a:t>
            </a:r>
            <a:r>
              <a:rPr lang="nl-BE" sz="2000" dirty="0" err="1" smtClean="0"/>
              <a:t>Governing</a:t>
            </a:r>
            <a:r>
              <a:rPr lang="nl-BE" sz="2000" dirty="0" smtClean="0"/>
              <a:t> Board</a:t>
            </a:r>
          </a:p>
          <a:p>
            <a:r>
              <a:rPr lang="nl-BE" sz="2000" dirty="0" smtClean="0"/>
              <a:t>Input </a:t>
            </a:r>
            <a:r>
              <a:rPr lang="nl-BE" sz="2000" dirty="0" err="1" smtClean="0"/>
              <a:t>from</a:t>
            </a:r>
            <a:r>
              <a:rPr lang="nl-BE" sz="2000" dirty="0" smtClean="0"/>
              <a:t> the </a:t>
            </a:r>
            <a:r>
              <a:rPr lang="nl-BE" sz="2000" dirty="0" err="1" smtClean="0"/>
              <a:t>Scientific</a:t>
            </a:r>
            <a:r>
              <a:rPr lang="nl-BE" sz="2000" dirty="0" smtClean="0"/>
              <a:t> </a:t>
            </a:r>
            <a:r>
              <a:rPr lang="nl-BE" sz="2000" dirty="0" err="1" smtClean="0"/>
              <a:t>Committee</a:t>
            </a:r>
            <a:r>
              <a:rPr lang="nl-BE" sz="2000" dirty="0" smtClean="0"/>
              <a:t> Members</a:t>
            </a:r>
          </a:p>
          <a:p>
            <a:r>
              <a:rPr lang="nl-BE" sz="2000" dirty="0" err="1" smtClean="0"/>
              <a:t>PRDs</a:t>
            </a:r>
            <a:r>
              <a:rPr lang="nl-BE" sz="2000" dirty="0" smtClean="0"/>
              <a:t> </a:t>
            </a:r>
            <a:r>
              <a:rPr lang="nl-BE" sz="2000" dirty="0" err="1" smtClean="0"/>
              <a:t>based</a:t>
            </a:r>
            <a:r>
              <a:rPr lang="nl-BE" sz="2000" dirty="0" smtClean="0"/>
              <a:t> on the </a:t>
            </a:r>
            <a:r>
              <a:rPr lang="nl-BE" sz="2000" dirty="0" err="1" smtClean="0"/>
              <a:t>proposed</a:t>
            </a:r>
            <a:r>
              <a:rPr lang="nl-BE" sz="2000" dirty="0" smtClean="0"/>
              <a:t> </a:t>
            </a:r>
            <a:r>
              <a:rPr lang="nl-BE" sz="2000" dirty="0" err="1" smtClean="0"/>
              <a:t>structure</a:t>
            </a:r>
            <a:r>
              <a:rPr lang="nl-BE" sz="2000" dirty="0" smtClean="0"/>
              <a:t> </a:t>
            </a:r>
            <a:r>
              <a:rPr lang="nl-BE" sz="2000" dirty="0" err="1" smtClean="0"/>
              <a:t>for</a:t>
            </a:r>
            <a:r>
              <a:rPr lang="nl-BE" sz="2000" dirty="0" smtClean="0"/>
              <a:t> FCH JU </a:t>
            </a:r>
            <a:r>
              <a:rPr lang="nl-BE" sz="2000" dirty="0" err="1" smtClean="0"/>
              <a:t>under</a:t>
            </a:r>
            <a:r>
              <a:rPr lang="nl-BE" sz="2000" dirty="0" smtClean="0"/>
              <a:t> Horizon 2020 </a:t>
            </a:r>
          </a:p>
          <a:p>
            <a:r>
              <a:rPr lang="nl-BE" sz="2000" dirty="0" err="1" smtClean="0"/>
              <a:t>Two</a:t>
            </a:r>
            <a:r>
              <a:rPr lang="nl-BE" sz="2000" dirty="0" smtClean="0"/>
              <a:t> </a:t>
            </a:r>
            <a:r>
              <a:rPr lang="nl-BE" sz="2000" dirty="0" err="1" smtClean="0"/>
              <a:t>main</a:t>
            </a:r>
            <a:r>
              <a:rPr lang="nl-BE" sz="2000" dirty="0" smtClean="0"/>
              <a:t> </a:t>
            </a:r>
            <a:r>
              <a:rPr lang="nl-BE" sz="2000" dirty="0" err="1" smtClean="0"/>
              <a:t>pillars</a:t>
            </a:r>
            <a:r>
              <a:rPr lang="nl-BE" sz="2000" dirty="0" smtClean="0"/>
              <a:t>: Energy – Transport  </a:t>
            </a:r>
            <a:r>
              <a:rPr lang="nl-BE" sz="2000" dirty="0" err="1" smtClean="0"/>
              <a:t>and</a:t>
            </a:r>
            <a:r>
              <a:rPr lang="nl-BE" sz="2000" dirty="0" smtClean="0"/>
              <a:t> Cross-</a:t>
            </a:r>
            <a:r>
              <a:rPr lang="nl-BE" sz="2000" dirty="0" err="1" smtClean="0"/>
              <a:t>Cutting</a:t>
            </a:r>
            <a:r>
              <a:rPr lang="nl-BE" sz="2000" dirty="0" smtClean="0"/>
              <a:t> </a:t>
            </a:r>
            <a:r>
              <a:rPr lang="nl-BE" sz="2000" dirty="0" err="1" smtClean="0"/>
              <a:t>activities</a:t>
            </a:r>
            <a:endParaRPr lang="nl-BE" sz="2000" dirty="0" smtClean="0"/>
          </a:p>
          <a:p>
            <a:r>
              <a:rPr lang="nl-BE" sz="2000" dirty="0" smtClean="0"/>
              <a:t>Focus on </a:t>
            </a:r>
            <a:r>
              <a:rPr lang="nl-BE" sz="2000" dirty="0" err="1" smtClean="0"/>
              <a:t>Demonstration</a:t>
            </a:r>
            <a:r>
              <a:rPr lang="nl-BE" sz="2000" dirty="0" smtClean="0"/>
              <a:t> </a:t>
            </a:r>
            <a:r>
              <a:rPr lang="nl-BE" sz="2000" dirty="0" err="1" smtClean="0"/>
              <a:t>projects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 RTD </a:t>
            </a:r>
            <a:r>
              <a:rPr lang="nl-BE" sz="2000" dirty="0" err="1" smtClean="0"/>
              <a:t>projects</a:t>
            </a:r>
            <a:endParaRPr lang="nl-BE" sz="2000" dirty="0" smtClean="0"/>
          </a:p>
          <a:p>
            <a:r>
              <a:rPr lang="nl-BE" sz="2000" dirty="0" err="1" smtClean="0"/>
              <a:t>Projects</a:t>
            </a:r>
            <a:r>
              <a:rPr lang="nl-BE" sz="2000" dirty="0" smtClean="0"/>
              <a:t> </a:t>
            </a:r>
            <a:r>
              <a:rPr lang="nl-BE" sz="2000" dirty="0" err="1" smtClean="0"/>
              <a:t>grouped</a:t>
            </a:r>
            <a:r>
              <a:rPr lang="nl-BE" sz="2000" dirty="0" smtClean="0"/>
              <a:t> </a:t>
            </a:r>
            <a:r>
              <a:rPr lang="nl-BE" sz="2000" dirty="0" err="1" smtClean="0"/>
              <a:t>inside</a:t>
            </a:r>
            <a:r>
              <a:rPr lang="nl-BE" sz="2000" dirty="0" smtClean="0"/>
              <a:t> panels</a:t>
            </a:r>
          </a:p>
          <a:p>
            <a:r>
              <a:rPr lang="nl-BE" sz="2000" dirty="0" smtClean="0"/>
              <a:t>Poster </a:t>
            </a:r>
            <a:r>
              <a:rPr lang="nl-BE" sz="2000" dirty="0" err="1" smtClean="0"/>
              <a:t>presentations</a:t>
            </a:r>
            <a:r>
              <a:rPr lang="nl-BE" sz="2000" dirty="0" smtClean="0"/>
              <a:t> with </a:t>
            </a:r>
            <a:r>
              <a:rPr lang="nl-BE" sz="2000" dirty="0" err="1" smtClean="0"/>
              <a:t>selection</a:t>
            </a:r>
            <a:r>
              <a:rPr lang="nl-BE" sz="2000" dirty="0" smtClean="0"/>
              <a:t> of </a:t>
            </a:r>
            <a:r>
              <a:rPr lang="nl-BE" sz="2000" dirty="0" err="1" smtClean="0"/>
              <a:t>flagship</a:t>
            </a:r>
            <a:r>
              <a:rPr lang="nl-BE" sz="2000" dirty="0" smtClean="0"/>
              <a:t> </a:t>
            </a:r>
            <a:r>
              <a:rPr lang="nl-BE" sz="2000" dirty="0" err="1" smtClean="0"/>
              <a:t>projects</a:t>
            </a:r>
            <a:r>
              <a:rPr lang="nl-BE" sz="2000" dirty="0" smtClean="0"/>
              <a:t> </a:t>
            </a:r>
            <a:r>
              <a:rPr lang="nl-BE" sz="2000" dirty="0" err="1" smtClean="0"/>
              <a:t>oral</a:t>
            </a:r>
            <a:r>
              <a:rPr lang="nl-BE" sz="2000" dirty="0" smtClean="0"/>
              <a:t> </a:t>
            </a:r>
            <a:r>
              <a:rPr lang="nl-BE" sz="2000" dirty="0" err="1" smtClean="0"/>
              <a:t>presentations</a:t>
            </a:r>
            <a:endParaRPr lang="nl-BE" sz="2000" dirty="0" smtClean="0"/>
          </a:p>
          <a:p>
            <a:r>
              <a:rPr lang="nl-BE" sz="2000" dirty="0" smtClean="0"/>
              <a:t>Report </a:t>
            </a:r>
            <a:r>
              <a:rPr lang="nl-BE" sz="2000" dirty="0" err="1" smtClean="0"/>
              <a:t>to</a:t>
            </a:r>
            <a:r>
              <a:rPr lang="nl-BE" sz="2000" dirty="0" smtClean="0"/>
              <a:t> the Stakeholders General </a:t>
            </a:r>
            <a:r>
              <a:rPr lang="nl-BE" sz="2000" dirty="0" err="1" smtClean="0"/>
              <a:t>Asssembly</a:t>
            </a:r>
            <a:r>
              <a:rPr lang="nl-BE" sz="2000" dirty="0" smtClean="0"/>
              <a:t> </a:t>
            </a:r>
            <a:r>
              <a:rPr lang="nl-BE" sz="2000" dirty="0" err="1" smtClean="0"/>
              <a:t>by</a:t>
            </a:r>
            <a:r>
              <a:rPr lang="nl-BE" sz="2000" dirty="0" smtClean="0"/>
              <a:t> the SC members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248355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99564" y="-98425"/>
            <a:ext cx="1787248" cy="1143000"/>
          </a:xfrm>
        </p:spPr>
        <p:txBody>
          <a:bodyPr/>
          <a:lstStyle/>
          <a:p>
            <a:r>
              <a:rPr lang="nl-BE" sz="3200" dirty="0" smtClean="0"/>
              <a:t>Agenda</a:t>
            </a:r>
            <a:br>
              <a:rPr lang="nl-BE" sz="3200" dirty="0" smtClean="0"/>
            </a:br>
            <a:r>
              <a:rPr lang="nl-BE" sz="3200" dirty="0" smtClean="0"/>
              <a:t>Day 1</a:t>
            </a:r>
            <a:endParaRPr lang="nl-BE" sz="3200" dirty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951" y="327624"/>
            <a:ext cx="5971147" cy="6310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877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6442" y="-98425"/>
            <a:ext cx="1680370" cy="1523464"/>
          </a:xfrm>
        </p:spPr>
        <p:txBody>
          <a:bodyPr/>
          <a:lstStyle/>
          <a:p>
            <a:r>
              <a:rPr lang="nl-BE" sz="3200" dirty="0"/>
              <a:t>Agenda</a:t>
            </a:r>
            <a:br>
              <a:rPr lang="nl-BE" sz="3200" dirty="0"/>
            </a:br>
            <a:r>
              <a:rPr lang="nl-BE" sz="3200" dirty="0"/>
              <a:t>Day </a:t>
            </a:r>
            <a:r>
              <a:rPr lang="nl-BE" sz="3200" dirty="0" smtClean="0"/>
              <a:t>2</a:t>
            </a:r>
            <a:br>
              <a:rPr lang="nl-BE" sz="3200" dirty="0" smtClean="0"/>
            </a:br>
            <a:r>
              <a:rPr lang="nl-BE" sz="3200" dirty="0" smtClean="0"/>
              <a:t>a.m.</a:t>
            </a:r>
            <a:endParaRPr lang="nl-BE" sz="3200" dirty="0"/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59" y="556284"/>
            <a:ext cx="6307480" cy="5998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620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55823" y="20327"/>
            <a:ext cx="1775373" cy="1535339"/>
          </a:xfrm>
        </p:spPr>
        <p:txBody>
          <a:bodyPr/>
          <a:lstStyle/>
          <a:p>
            <a:r>
              <a:rPr lang="nl-BE" sz="3200" dirty="0"/>
              <a:t>Agenda</a:t>
            </a:r>
            <a:br>
              <a:rPr lang="nl-BE" sz="3200" dirty="0"/>
            </a:br>
            <a:r>
              <a:rPr lang="nl-BE" sz="3200" dirty="0"/>
              <a:t>Day 2</a:t>
            </a:r>
            <a:br>
              <a:rPr lang="nl-BE" sz="3200" dirty="0"/>
            </a:br>
            <a:r>
              <a:rPr lang="nl-BE" sz="3200" dirty="0" smtClean="0"/>
              <a:t>p.m</a:t>
            </a:r>
            <a:r>
              <a:rPr lang="nl-BE" sz="3200" dirty="0"/>
              <a:t>.</a:t>
            </a: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621" y="163593"/>
            <a:ext cx="5692819" cy="2467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622" y="2631246"/>
            <a:ext cx="5692819" cy="3844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298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854075" y="2914650"/>
            <a:ext cx="8305800" cy="3790950"/>
          </a:xfrm>
        </p:spPr>
        <p:txBody>
          <a:bodyPr/>
          <a:lstStyle/>
          <a:p>
            <a:pPr marL="342791" indent="-342791" defTabSz="457056" eaLnBrk="1" hangingPunct="1">
              <a:lnSpc>
                <a:spcPct val="90000"/>
              </a:lnSpc>
              <a:buFont typeface="Wingdings" charset="0"/>
              <a:buNone/>
              <a:defRPr/>
            </a:pPr>
            <a:endParaRPr lang="fr-BE" dirty="0">
              <a:solidFill>
                <a:srgbClr val="17375E"/>
              </a:solidFill>
              <a:cs typeface="+mn-cs"/>
            </a:endParaRPr>
          </a:p>
          <a:p>
            <a:pPr marL="342791" indent="-342791" defTabSz="457056" eaLnBrk="1" hangingPunct="1">
              <a:lnSpc>
                <a:spcPct val="90000"/>
              </a:lnSpc>
              <a:buFont typeface="Wingdings" charset="0"/>
              <a:buNone/>
              <a:defRPr/>
            </a:pPr>
            <a:r>
              <a:rPr lang="fr-BE" sz="4000" dirty="0">
                <a:solidFill>
                  <a:srgbClr val="17375E"/>
                </a:solidFill>
                <a:cs typeface="+mn-cs"/>
              </a:rPr>
              <a:t>Thank you for your attention !</a:t>
            </a:r>
          </a:p>
          <a:p>
            <a:pPr marL="342791" indent="-342791" defTabSz="457056" eaLnBrk="1" hangingPunct="1">
              <a:lnSpc>
                <a:spcPct val="90000"/>
              </a:lnSpc>
              <a:buFont typeface="Wingdings" charset="0"/>
              <a:buNone/>
              <a:defRPr/>
            </a:pPr>
            <a:endParaRPr lang="fr-BE" sz="4000" dirty="0">
              <a:solidFill>
                <a:srgbClr val="17375E"/>
              </a:solidFill>
              <a:cs typeface="+mn-cs"/>
            </a:endParaRPr>
          </a:p>
          <a:p>
            <a:pPr marL="342791" indent="-342791" defTabSz="457056" eaLnBrk="1" hangingPunct="1">
              <a:lnSpc>
                <a:spcPct val="90000"/>
              </a:lnSpc>
              <a:buFont typeface="Wingdings" charset="0"/>
              <a:buNone/>
              <a:defRPr/>
            </a:pPr>
            <a:r>
              <a:rPr lang="fr-BE" dirty="0">
                <a:solidFill>
                  <a:srgbClr val="17375E"/>
                </a:solidFill>
                <a:cs typeface="+mn-cs"/>
              </a:rPr>
              <a:t>Further info :</a:t>
            </a:r>
            <a:r>
              <a:rPr lang="fr-BE" sz="4000" dirty="0">
                <a:solidFill>
                  <a:srgbClr val="17375E"/>
                </a:solidFill>
                <a:cs typeface="+mn-cs"/>
              </a:rPr>
              <a:t> </a:t>
            </a:r>
          </a:p>
          <a:p>
            <a:pPr marL="342791" indent="-342791" defTabSz="457056">
              <a:lnSpc>
                <a:spcPct val="90000"/>
              </a:lnSpc>
              <a:buFont typeface="Arial" charset="0"/>
              <a:buChar char="•"/>
              <a:defRPr/>
            </a:pPr>
            <a:r>
              <a:rPr lang="fr-BE" sz="1800" b="1" dirty="0">
                <a:solidFill>
                  <a:srgbClr val="17375E"/>
                </a:solidFill>
                <a:cs typeface="+mn-cs"/>
              </a:rPr>
              <a:t>FCH JU : </a:t>
            </a:r>
            <a:r>
              <a:rPr lang="fr-BE" sz="1800" b="1" u="sng" dirty="0">
                <a:solidFill>
                  <a:srgbClr val="17375E"/>
                </a:solidFill>
                <a:cs typeface="+mn-cs"/>
              </a:rPr>
              <a:t>http://fch-ju.eu</a:t>
            </a:r>
          </a:p>
          <a:p>
            <a:pPr marL="342791" indent="-342791" defTabSz="457056">
              <a:lnSpc>
                <a:spcPct val="90000"/>
              </a:lnSpc>
              <a:buFont typeface="Arial" charset="0"/>
              <a:buChar char="•"/>
              <a:defRPr/>
            </a:pPr>
            <a:r>
              <a:rPr lang="fr-BE" sz="1800" b="1" dirty="0">
                <a:solidFill>
                  <a:srgbClr val="17375E"/>
                </a:solidFill>
                <a:cs typeface="+mn-cs"/>
              </a:rPr>
              <a:t>NEW-IG : </a:t>
            </a:r>
            <a:r>
              <a:rPr lang="fr-BE" sz="1800" b="1" u="sng" dirty="0">
                <a:solidFill>
                  <a:srgbClr val="17375E"/>
                </a:solidFill>
                <a:cs typeface="+mn-cs"/>
                <a:hlinkClick r:id="rId3"/>
              </a:rPr>
              <a:t>http</a:t>
            </a:r>
            <a:r>
              <a:rPr lang="fr-BE" sz="1800" b="1" u="sng">
                <a:solidFill>
                  <a:srgbClr val="17375E"/>
                </a:solidFill>
                <a:cs typeface="+mn-cs"/>
                <a:hlinkClick r:id="rId3"/>
              </a:rPr>
              <a:t>://</a:t>
            </a:r>
            <a:r>
              <a:rPr lang="fr-BE" sz="1800" b="1" u="sng" smtClean="0">
                <a:solidFill>
                  <a:srgbClr val="17375E"/>
                </a:solidFill>
                <a:cs typeface="+mn-cs"/>
                <a:hlinkClick r:id="rId3"/>
              </a:rPr>
              <a:t>www.new-ig.eu</a:t>
            </a:r>
            <a:endParaRPr lang="fr-BE" sz="1800" b="1" u="sng" dirty="0">
              <a:solidFill>
                <a:srgbClr val="17375E"/>
              </a:solidFill>
              <a:cs typeface="+mn-cs"/>
            </a:endParaRPr>
          </a:p>
          <a:p>
            <a:pPr marL="342791" indent="-342791" defTabSz="457056">
              <a:lnSpc>
                <a:spcPct val="90000"/>
              </a:lnSpc>
              <a:buFont typeface="Arial" charset="0"/>
              <a:buChar char="•"/>
              <a:defRPr/>
            </a:pPr>
            <a:r>
              <a:rPr lang="fr-BE" sz="1800" b="1" dirty="0">
                <a:solidFill>
                  <a:srgbClr val="17375E"/>
                </a:solidFill>
                <a:cs typeface="+mn-cs"/>
              </a:rPr>
              <a:t>N.ERGHY : </a:t>
            </a:r>
            <a:r>
              <a:rPr lang="fr-BE" sz="1800" b="1" u="sng" dirty="0">
                <a:solidFill>
                  <a:srgbClr val="17375E"/>
                </a:solidFill>
                <a:cs typeface="+mn-cs"/>
                <a:hlinkClick r:id="rId4"/>
              </a:rPr>
              <a:t>http://www.nerghy.eu</a:t>
            </a:r>
            <a:endParaRPr lang="fr-BE" sz="1800" b="1" u="sng" dirty="0">
              <a:solidFill>
                <a:srgbClr val="17375E"/>
              </a:solidFill>
              <a:cs typeface="+mn-cs"/>
            </a:endParaRPr>
          </a:p>
        </p:txBody>
      </p:sp>
      <p:sp>
        <p:nvSpPr>
          <p:cNvPr id="3075" name="Slide Number Placeholder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3C624292-6B33-4D7B-A679-70B54B3572CB}" type="slidenum">
              <a:rPr lang="en-US" smtClean="0">
                <a:solidFill>
                  <a:srgbClr val="898989"/>
                </a:solidFill>
                <a:latin typeface="Calibri" pitchFamily="34" charset="0"/>
              </a:rPr>
              <a:pPr eaLnBrk="1" hangingPunct="1"/>
              <a:t>17</a:t>
            </a:fld>
            <a:endParaRPr lang="en-US" smtClean="0">
              <a:solidFill>
                <a:srgbClr val="898989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20"/>
          <p:cNvSpPr>
            <a:spLocks noChangeShapeType="1"/>
          </p:cNvSpPr>
          <p:nvPr/>
        </p:nvSpPr>
        <p:spPr bwMode="auto">
          <a:xfrm>
            <a:off x="5732463" y="6657975"/>
            <a:ext cx="0" cy="27305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44" tIns="45671" rIns="91344" bIns="45671"/>
          <a:lstStyle/>
          <a:p>
            <a:endParaRPr lang="en-GB"/>
          </a:p>
        </p:txBody>
      </p:sp>
      <p:sp>
        <p:nvSpPr>
          <p:cNvPr id="4099" name="Line 21"/>
          <p:cNvSpPr>
            <a:spLocks noChangeShapeType="1"/>
          </p:cNvSpPr>
          <p:nvPr/>
        </p:nvSpPr>
        <p:spPr bwMode="auto">
          <a:xfrm>
            <a:off x="5732463" y="6657986"/>
            <a:ext cx="0" cy="201613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44" tIns="45671" rIns="91344" bIns="45671"/>
          <a:lstStyle/>
          <a:p>
            <a:endParaRPr lang="en-GB"/>
          </a:p>
        </p:txBody>
      </p:sp>
      <p:sp>
        <p:nvSpPr>
          <p:cNvPr id="4100" name="Line 27"/>
          <p:cNvSpPr>
            <a:spLocks noChangeShapeType="1"/>
          </p:cNvSpPr>
          <p:nvPr/>
        </p:nvSpPr>
        <p:spPr bwMode="auto">
          <a:xfrm>
            <a:off x="5732463" y="6657975"/>
            <a:ext cx="0" cy="27305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44" tIns="45671" rIns="91344" bIns="45671"/>
          <a:lstStyle/>
          <a:p>
            <a:endParaRPr lang="en-GB"/>
          </a:p>
        </p:txBody>
      </p:sp>
      <p:sp>
        <p:nvSpPr>
          <p:cNvPr id="4101" name="Line 28"/>
          <p:cNvSpPr>
            <a:spLocks noChangeShapeType="1"/>
          </p:cNvSpPr>
          <p:nvPr/>
        </p:nvSpPr>
        <p:spPr bwMode="auto">
          <a:xfrm>
            <a:off x="5732463" y="6657986"/>
            <a:ext cx="0" cy="201613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44" tIns="45671" rIns="91344" bIns="45671"/>
          <a:lstStyle/>
          <a:p>
            <a:endParaRPr lang="en-GB"/>
          </a:p>
        </p:txBody>
      </p:sp>
      <p:graphicFrame>
        <p:nvGraphicFramePr>
          <p:cNvPr id="23" name="Diagram 22"/>
          <p:cNvGraphicFramePr/>
          <p:nvPr>
            <p:extLst>
              <p:ext uri="{D42A27DB-BD31-4B8C-83A1-F6EECF244321}">
                <p14:modId xmlns:p14="http://schemas.microsoft.com/office/powerpoint/2010/main" val="3327560368"/>
              </p:ext>
            </p:extLst>
          </p:nvPr>
        </p:nvGraphicFramePr>
        <p:xfrm>
          <a:off x="120399" y="2030680"/>
          <a:ext cx="5035841" cy="4454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103" name="Rectangle 2"/>
          <p:cNvSpPr txBox="1">
            <a:spLocks noChangeArrowheads="1"/>
          </p:cNvSpPr>
          <p:nvPr/>
        </p:nvSpPr>
        <p:spPr bwMode="auto">
          <a:xfrm>
            <a:off x="4721235" y="77795"/>
            <a:ext cx="434657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2400" b="1" dirty="0">
                <a:solidFill>
                  <a:schemeClr val="bg1"/>
                </a:solidFill>
                <a:ea typeface="ＭＳ Ｐゴシック" pitchFamily="34" charset="-128"/>
              </a:rPr>
              <a:t>The FCH JU in the </a:t>
            </a:r>
            <a:r>
              <a:rPr lang="en-US" sz="6000" b="1" dirty="0" smtClean="0">
                <a:solidFill>
                  <a:srgbClr val="FF0000"/>
                </a:solidFill>
                <a:ea typeface="ＭＳ Ｐゴシック" pitchFamily="34" charset="-128"/>
              </a:rPr>
              <a:t>SET-Plan</a:t>
            </a:r>
            <a:endParaRPr lang="en-GB" sz="6000" b="1" dirty="0">
              <a:solidFill>
                <a:srgbClr val="FF0000"/>
              </a:solidFill>
              <a:ea typeface="ＭＳ Ｐゴシック" pitchFamily="34" charset="-128"/>
            </a:endParaRPr>
          </a:p>
        </p:txBody>
      </p:sp>
      <p:pic>
        <p:nvPicPr>
          <p:cNvPr id="4104" name="Picture 2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289" y="2030680"/>
            <a:ext cx="3036683" cy="3571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5" name="Rectangle 9"/>
          <p:cNvSpPr>
            <a:spLocks noChangeArrowheads="1"/>
          </p:cNvSpPr>
          <p:nvPr/>
        </p:nvSpPr>
        <p:spPr bwMode="auto">
          <a:xfrm>
            <a:off x="4753768" y="5602051"/>
            <a:ext cx="4281488" cy="1222826"/>
          </a:xfrm>
          <a:prstGeom prst="rect">
            <a:avLst/>
          </a:prstGeom>
          <a:solidFill>
            <a:srgbClr val="C0C0C0">
              <a:alpha val="47058"/>
            </a:srgbClr>
          </a:solidFill>
          <a:ln w="19050">
            <a:solidFill>
              <a:srgbClr val="333333"/>
            </a:solidFill>
            <a:miter lim="800000"/>
            <a:headEnd/>
            <a:tailEnd/>
          </a:ln>
        </p:spPr>
        <p:txBody>
          <a:bodyPr lIns="91344" tIns="45671" rIns="91344" bIns="45671">
            <a:spAutoFit/>
          </a:bodyPr>
          <a:lstStyle/>
          <a:p>
            <a:pPr eaLnBrk="0" hangingPunct="0"/>
            <a:r>
              <a:rPr lang="de-DE" sz="2400" b="1" dirty="0">
                <a:latin typeface="Calibri" pitchFamily="34" charset="0"/>
                <a:ea typeface="ＭＳ Ｐゴシック" pitchFamily="34" charset="-128"/>
              </a:rPr>
              <a:t>Fuel cells technology is a key technology for Europe towards the 20-20-20 goal by 2020</a:t>
            </a:r>
            <a:endParaRPr lang="en-GB" sz="2400" b="1" dirty="0">
              <a:latin typeface="Calibri" pitchFamily="34" charset="0"/>
              <a:ea typeface="ＭＳ Ｐゴシック" pitchFamily="34" charset="-128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56" y="0"/>
            <a:ext cx="4436040" cy="1698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850" y="4316423"/>
            <a:ext cx="2903538" cy="1830387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45"/>
          <p:cNvSpPr>
            <a:spLocks noChangeArrowheads="1"/>
          </p:cNvSpPr>
          <p:nvPr/>
        </p:nvSpPr>
        <p:spPr bwMode="auto">
          <a:xfrm>
            <a:off x="223848" y="1435102"/>
            <a:ext cx="5683250" cy="5203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/>
        </p:spPr>
        <p:txBody>
          <a:bodyPr wrap="none" lIns="91344" tIns="45671" rIns="91344" bIns="45671" anchor="ctr"/>
          <a:lstStyle/>
          <a:p>
            <a:pPr eaLnBrk="0" hangingPunct="0">
              <a:defRPr/>
            </a:pPr>
            <a:endParaRPr lang="en-US">
              <a:ea typeface="MS PGothi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205048" y="2184411"/>
            <a:ext cx="1700212" cy="1262063"/>
          </a:xfrm>
          <a:prstGeom prst="rect">
            <a:avLst/>
          </a:prstGeom>
          <a:solidFill>
            <a:schemeClr val="bg1"/>
          </a:solidFill>
          <a:ln w="444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77" name="Rectangle 2"/>
          <p:cNvSpPr>
            <a:spLocks noChangeArrowheads="1"/>
          </p:cNvSpPr>
          <p:nvPr/>
        </p:nvSpPr>
        <p:spPr bwMode="auto">
          <a:xfrm>
            <a:off x="1854994" y="83127"/>
            <a:ext cx="6948487" cy="1187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 anchor="ctr"/>
          <a:lstStyle/>
          <a:p>
            <a:pPr algn="r"/>
            <a:r>
              <a:rPr lang="en-US" sz="2400" b="1" dirty="0">
                <a:solidFill>
                  <a:schemeClr val="bg1"/>
                </a:solidFill>
                <a:ea typeface="ＭＳ Ｐゴシック" pitchFamily="34" charset="-128"/>
              </a:rPr>
              <a:t>The FCH JU in the SET </a:t>
            </a:r>
            <a:r>
              <a:rPr lang="en-US" sz="2400" b="1" dirty="0" smtClean="0">
                <a:solidFill>
                  <a:schemeClr val="bg1"/>
                </a:solidFill>
                <a:ea typeface="ＭＳ Ｐゴシック" pitchFamily="34" charset="-128"/>
              </a:rPr>
              <a:t>plan:</a:t>
            </a:r>
            <a:endParaRPr lang="en-GB" sz="2400" b="1" dirty="0">
              <a:solidFill>
                <a:schemeClr val="bg1"/>
              </a:solidFill>
              <a:ea typeface="ＭＳ Ｐゴシック" pitchFamily="34" charset="-128"/>
            </a:endParaRPr>
          </a:p>
          <a:p>
            <a:pPr algn="r"/>
            <a:r>
              <a:rPr lang="en-GB" sz="2400" b="1" dirty="0" smtClean="0">
                <a:solidFill>
                  <a:schemeClr val="bg1"/>
                </a:solidFill>
              </a:rPr>
              <a:t>A strong </a:t>
            </a:r>
            <a:r>
              <a:rPr lang="en-GB" sz="2400" b="1" dirty="0">
                <a:solidFill>
                  <a:schemeClr val="bg1"/>
                </a:solidFill>
              </a:rPr>
              <a:t>public-private partnership </a:t>
            </a:r>
          </a:p>
          <a:p>
            <a:pPr algn="r"/>
            <a:r>
              <a:rPr lang="en-GB" sz="2400" b="1" dirty="0">
                <a:solidFill>
                  <a:schemeClr val="bg1"/>
                </a:solidFill>
              </a:rPr>
              <a:t>with a focused objective</a:t>
            </a:r>
          </a:p>
        </p:txBody>
      </p:sp>
      <p:pic>
        <p:nvPicPr>
          <p:cNvPr id="3078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7950" y="2259013"/>
            <a:ext cx="768350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230438" y="2767016"/>
            <a:ext cx="1692275" cy="6127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344" tIns="45671" rIns="91344" bIns="45671">
            <a:spAutoFit/>
          </a:bodyPr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European Union  </a:t>
            </a:r>
            <a:r>
              <a:rPr lang="en-GB" sz="11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represented by the European Commission </a:t>
            </a:r>
          </a:p>
        </p:txBody>
      </p:sp>
      <p:sp>
        <p:nvSpPr>
          <p:cNvPr id="3080" name="Rectangle 9"/>
          <p:cNvSpPr>
            <a:spLocks noChangeArrowheads="1"/>
          </p:cNvSpPr>
          <p:nvPr/>
        </p:nvSpPr>
        <p:spPr bwMode="auto">
          <a:xfrm>
            <a:off x="420688" y="6116648"/>
            <a:ext cx="53498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>
            <a:spAutoFit/>
          </a:bodyPr>
          <a:lstStyle/>
          <a:p>
            <a:pPr algn="ctr" eaLnBrk="0" hangingPunct="0"/>
            <a:r>
              <a:rPr lang="en-GB" sz="1000">
                <a:solidFill>
                  <a:srgbClr val="184B8A"/>
                </a:solidFill>
                <a:latin typeface="Arial Narrow" pitchFamily="34" charset="0"/>
                <a:ea typeface="MS PGothic" pitchFamily="34" charset="-128"/>
                <a:cs typeface="Arial Narrow" pitchFamily="34" charset="0"/>
              </a:rPr>
              <a:t>The Joint Undertaking is managed by a </a:t>
            </a:r>
            <a:r>
              <a:rPr lang="en-GB" sz="1000" u="sng">
                <a:solidFill>
                  <a:srgbClr val="184B8A"/>
                </a:solidFill>
                <a:latin typeface="Arial Narrow" pitchFamily="34" charset="0"/>
                <a:ea typeface="MS PGothic" pitchFamily="34" charset="-128"/>
                <a:cs typeface="Arial Narrow" pitchFamily="34" charset="0"/>
              </a:rPr>
              <a:t>Governing Board</a:t>
            </a:r>
            <a:r>
              <a:rPr lang="en-GB" sz="1000">
                <a:solidFill>
                  <a:srgbClr val="184B8A"/>
                </a:solidFill>
                <a:latin typeface="Arial Narrow" pitchFamily="34" charset="0"/>
                <a:ea typeface="MS PGothic" pitchFamily="34" charset="-128"/>
                <a:cs typeface="Arial Narrow" pitchFamily="34" charset="0"/>
              </a:rPr>
              <a:t> composed of representatives </a:t>
            </a:r>
          </a:p>
          <a:p>
            <a:pPr algn="ctr" eaLnBrk="0" hangingPunct="0"/>
            <a:r>
              <a:rPr lang="en-GB" sz="1000">
                <a:solidFill>
                  <a:srgbClr val="184B8A"/>
                </a:solidFill>
                <a:latin typeface="Arial Narrow" pitchFamily="34" charset="0"/>
                <a:ea typeface="MS PGothic" pitchFamily="34" charset="-128"/>
                <a:cs typeface="Arial Narrow" pitchFamily="34" charset="0"/>
              </a:rPr>
              <a:t>of all three partners and lead by the Industry.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784984" y="3267075"/>
            <a:ext cx="2139950" cy="27301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44" tIns="45671" rIns="91344" bIns="45671">
            <a:spAutoFit/>
          </a:bodyPr>
          <a:lstStyle/>
          <a:p>
            <a:pPr algn="ctr">
              <a:lnSpc>
                <a:spcPct val="150000"/>
              </a:lnSpc>
              <a:buClr>
                <a:srgbClr val="00005E"/>
              </a:buClr>
              <a:buSzPct val="50000"/>
              <a:defRPr/>
            </a:pPr>
            <a:r>
              <a:rPr lang="en-US" sz="1600" dirty="0">
                <a:solidFill>
                  <a:schemeClr val="tx1"/>
                </a:solidFill>
              </a:rPr>
              <a:t>To accelerate the development of technology base towards </a:t>
            </a:r>
            <a:r>
              <a:rPr lang="en-US" sz="1600" b="1" dirty="0">
                <a:solidFill>
                  <a:schemeClr val="tx1"/>
                </a:solidFill>
              </a:rPr>
              <a:t>market deployment </a:t>
            </a:r>
          </a:p>
          <a:p>
            <a:pPr algn="ctr">
              <a:lnSpc>
                <a:spcPct val="150000"/>
              </a:lnSpc>
              <a:buClr>
                <a:srgbClr val="00005E"/>
              </a:buClr>
              <a:buSzPct val="50000"/>
              <a:defRPr/>
            </a:pPr>
            <a:r>
              <a:rPr lang="en-US" sz="1600" b="1" dirty="0">
                <a:solidFill>
                  <a:schemeClr val="tx1"/>
                </a:solidFill>
              </a:rPr>
              <a:t>of FCH technologies </a:t>
            </a:r>
          </a:p>
          <a:p>
            <a:pPr algn="ctr">
              <a:lnSpc>
                <a:spcPct val="150000"/>
              </a:lnSpc>
              <a:buClr>
                <a:srgbClr val="00005E"/>
              </a:buClr>
              <a:buSzPct val="50000"/>
              <a:defRPr/>
            </a:pPr>
            <a:r>
              <a:rPr lang="en-US" sz="1600" dirty="0">
                <a:solidFill>
                  <a:schemeClr val="tx1"/>
                </a:solidFill>
              </a:rPr>
              <a:t>from 2015 onwards</a:t>
            </a:r>
          </a:p>
        </p:txBody>
      </p:sp>
      <p:sp>
        <p:nvSpPr>
          <p:cNvPr id="3082" name="TextBox 21"/>
          <p:cNvSpPr txBox="1">
            <a:spLocks noChangeArrowheads="1"/>
          </p:cNvSpPr>
          <p:nvPr/>
        </p:nvSpPr>
        <p:spPr bwMode="auto">
          <a:xfrm>
            <a:off x="331788" y="1612906"/>
            <a:ext cx="5429250" cy="406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sz="2000" b="1">
                <a:solidFill>
                  <a:srgbClr val="0070C0"/>
                </a:solidFill>
              </a:rPr>
              <a:t>Fuel Cells &amp; Hydrogen Joint Undertaking</a:t>
            </a:r>
            <a:endParaRPr lang="en-US" sz="2000" b="1">
              <a:solidFill>
                <a:srgbClr val="0070C0"/>
              </a:solidFill>
            </a:endParaRPr>
          </a:p>
        </p:txBody>
      </p:sp>
      <p:sp>
        <p:nvSpPr>
          <p:cNvPr id="3083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553200" y="6492875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163" indent="-285448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1789" indent="-228355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598505" indent="-228355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5221" indent="-228355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1936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68652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5367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2082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22D24FD3-223D-48A3-B4DC-A4E0D97EC6D6}" type="slidenum">
              <a:rPr lang="en-GB">
                <a:solidFill>
                  <a:srgbClr val="898989"/>
                </a:solidFill>
                <a:latin typeface="Calibri" pitchFamily="34" charset="0"/>
              </a:rPr>
              <a:pPr eaLnBrk="1" hangingPunct="1"/>
              <a:t>3</a:t>
            </a:fld>
            <a:endParaRPr lang="en-GB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9" name="Striped Right Arrow 18"/>
          <p:cNvSpPr/>
          <p:nvPr/>
        </p:nvSpPr>
        <p:spPr>
          <a:xfrm>
            <a:off x="5972185" y="3879850"/>
            <a:ext cx="1031875" cy="2157414"/>
          </a:xfrm>
          <a:prstGeom prst="stripedRightArrow">
            <a:avLst>
              <a:gd name="adj1" fmla="val 50000"/>
              <a:gd name="adj2" fmla="val 48795"/>
            </a:avLst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4" tIns="45671" rIns="91344" bIns="45671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92121" y="2181235"/>
            <a:ext cx="1698625" cy="1262063"/>
          </a:xfrm>
          <a:prstGeom prst="rect">
            <a:avLst/>
          </a:prstGeom>
          <a:solidFill>
            <a:schemeClr val="bg1"/>
          </a:solidFill>
          <a:ln w="444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003675" y="2190760"/>
            <a:ext cx="1698625" cy="1262063"/>
          </a:xfrm>
          <a:prstGeom prst="rect">
            <a:avLst/>
          </a:prstGeom>
          <a:solidFill>
            <a:schemeClr val="bg1"/>
          </a:solidFill>
          <a:ln w="444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3087" name="Picture 61" descr="M:\2011\Clients\NEW IG\Communications\Logos\NEW-IG logo smal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60" y="2387609"/>
            <a:ext cx="1058863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8" name="Picture 18" descr="the N.ERGHY Research Grouping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038" y="2305050"/>
            <a:ext cx="9652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9" name="Rectangle 3"/>
          <p:cNvSpPr>
            <a:spLocks noChangeArrowheads="1"/>
          </p:cNvSpPr>
          <p:nvPr/>
        </p:nvSpPr>
        <p:spPr bwMode="auto">
          <a:xfrm>
            <a:off x="354023" y="2851161"/>
            <a:ext cx="17557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>
            <a:spAutoFit/>
          </a:bodyPr>
          <a:lstStyle/>
          <a:p>
            <a:pPr marL="168099" indent="-168099" algn="ctr" eaLnBrk="0" hangingPunct="0"/>
            <a:r>
              <a:rPr lang="en-US" sz="1100" b="1" dirty="0">
                <a:ea typeface="MS PGothic" pitchFamily="34" charset="-128"/>
              </a:rPr>
              <a:t>Industry Grouping</a:t>
            </a:r>
            <a:endParaRPr lang="en-US" sz="1100" dirty="0">
              <a:ea typeface="MS PGothic" pitchFamily="34" charset="-128"/>
            </a:endParaRPr>
          </a:p>
          <a:p>
            <a:pPr marL="168099" indent="-168099" algn="ctr" eaLnBrk="0" hangingPunct="0"/>
            <a:r>
              <a:rPr lang="en-GB" sz="1100" dirty="0">
                <a:ea typeface="MS PGothic" pitchFamily="34" charset="-128"/>
              </a:rPr>
              <a:t>Close to 60 members</a:t>
            </a:r>
          </a:p>
          <a:p>
            <a:pPr marL="168099" indent="-168099" algn="ctr" eaLnBrk="0" hangingPunct="0"/>
            <a:r>
              <a:rPr lang="fr-BE" sz="1000" dirty="0">
                <a:solidFill>
                  <a:schemeClr val="tx2"/>
                </a:solidFill>
                <a:ea typeface="MS PGothic" pitchFamily="34" charset="-128"/>
              </a:rPr>
              <a:t>~ 50% SME </a:t>
            </a:r>
            <a:endParaRPr lang="en-US" sz="1000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3090" name="Rectangle 3"/>
          <p:cNvSpPr>
            <a:spLocks noChangeArrowheads="1"/>
          </p:cNvSpPr>
          <p:nvPr/>
        </p:nvSpPr>
        <p:spPr bwMode="auto">
          <a:xfrm>
            <a:off x="3998923" y="2851150"/>
            <a:ext cx="1755775" cy="437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>
            <a:spAutoFit/>
          </a:bodyPr>
          <a:lstStyle/>
          <a:p>
            <a:pPr algn="ctr" eaLnBrk="0" hangingPunct="0"/>
            <a:r>
              <a:rPr lang="en-US" sz="1100" b="1">
                <a:solidFill>
                  <a:srgbClr val="572423"/>
                </a:solidFill>
                <a:ea typeface="MS PGothic" pitchFamily="34" charset="-128"/>
              </a:rPr>
              <a:t>Research Grouping</a:t>
            </a:r>
          </a:p>
          <a:p>
            <a:pPr algn="ctr" eaLnBrk="0" hangingPunct="0"/>
            <a:r>
              <a:rPr lang="en-US" sz="1100">
                <a:solidFill>
                  <a:srgbClr val="572423"/>
                </a:solidFill>
                <a:ea typeface="MS PGothic" pitchFamily="34" charset="-128"/>
              </a:rPr>
              <a:t>Over 60 members</a:t>
            </a:r>
            <a:endParaRPr lang="fr-BE" sz="1100">
              <a:solidFill>
                <a:srgbClr val="572423"/>
              </a:solidFill>
              <a:ea typeface="MS PGothic" pitchFamily="34" charset="-128"/>
            </a:endParaRPr>
          </a:p>
        </p:txBody>
      </p:sp>
      <p:pic>
        <p:nvPicPr>
          <p:cNvPr id="3091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860" y="3684588"/>
            <a:ext cx="2657475" cy="23050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Isosceles Triangle 41"/>
          <p:cNvSpPr/>
          <p:nvPr/>
        </p:nvSpPr>
        <p:spPr>
          <a:xfrm rot="10800000">
            <a:off x="803275" y="3455988"/>
            <a:ext cx="877888" cy="182562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3" name="Isosceles Triangle 42"/>
          <p:cNvSpPr/>
          <p:nvPr/>
        </p:nvSpPr>
        <p:spPr>
          <a:xfrm rot="10800000">
            <a:off x="4414838" y="3471863"/>
            <a:ext cx="877887" cy="182562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3094" name="Picture 2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23" y="3697288"/>
            <a:ext cx="2687637" cy="230346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927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ChangeArrowheads="1"/>
          </p:cNvSpPr>
          <p:nvPr/>
        </p:nvSpPr>
        <p:spPr bwMode="auto">
          <a:xfrm>
            <a:off x="2156866" y="-130381"/>
            <a:ext cx="713422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4" tIns="45671" rIns="91344" bIns="45671" anchor="ctr"/>
          <a:lstStyle/>
          <a:p>
            <a:pPr marL="342537" indent="-342537" algn="ctr"/>
            <a:r>
              <a:rPr lang="fr-BE" sz="2400" b="1" dirty="0">
                <a:solidFill>
                  <a:schemeClr val="bg1"/>
                </a:solidFill>
                <a:cs typeface="Arial" pitchFamily="34" charset="0"/>
              </a:rPr>
              <a:t>Multi-</a:t>
            </a:r>
            <a:r>
              <a:rPr lang="fr-BE" sz="2400" b="1" dirty="0" err="1">
                <a:solidFill>
                  <a:schemeClr val="bg1"/>
                </a:solidFill>
                <a:cs typeface="Arial" pitchFamily="34" charset="0"/>
              </a:rPr>
              <a:t>Annual</a:t>
            </a:r>
            <a:r>
              <a:rPr lang="fr-BE" sz="2400" b="1" dirty="0">
                <a:solidFill>
                  <a:schemeClr val="bg1"/>
                </a:solidFill>
                <a:cs typeface="Arial" pitchFamily="34" charset="0"/>
              </a:rPr>
              <a:t>  </a:t>
            </a:r>
            <a:r>
              <a:rPr lang="fr-BE" sz="2400" b="1" dirty="0" err="1">
                <a:solidFill>
                  <a:schemeClr val="bg1"/>
                </a:solidFill>
                <a:cs typeface="Arial" pitchFamily="34" charset="0"/>
              </a:rPr>
              <a:t>Implementation</a:t>
            </a:r>
            <a:r>
              <a:rPr lang="fr-BE" sz="2400" b="1" dirty="0">
                <a:solidFill>
                  <a:schemeClr val="bg1"/>
                </a:solidFill>
                <a:cs typeface="Arial" pitchFamily="34" charset="0"/>
              </a:rPr>
              <a:t> Plan </a:t>
            </a:r>
          </a:p>
          <a:p>
            <a:pPr marL="342537" indent="-342537" algn="ctr"/>
            <a:r>
              <a:rPr lang="fr-BE" sz="2400" b="1" dirty="0">
                <a:solidFill>
                  <a:schemeClr val="bg1"/>
                </a:solidFill>
                <a:cs typeface="Arial" pitchFamily="34" charset="0"/>
              </a:rPr>
              <a:t>2008 - 2013</a:t>
            </a:r>
            <a:endParaRPr lang="en-GB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6144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2147331"/>
            <a:ext cx="7981950" cy="445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689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5" y="2247900"/>
            <a:ext cx="8883650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2"/>
          <p:cNvSpPr>
            <a:spLocks noChangeArrowheads="1"/>
          </p:cNvSpPr>
          <p:nvPr/>
        </p:nvSpPr>
        <p:spPr bwMode="auto">
          <a:xfrm>
            <a:off x="2916238" y="133350"/>
            <a:ext cx="622776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nl-BE" sz="2400" b="1">
                <a:solidFill>
                  <a:schemeClr val="bg1"/>
                </a:solidFill>
              </a:rPr>
              <a:t>Funding distribution by application area: </a:t>
            </a:r>
          </a:p>
          <a:p>
            <a:r>
              <a:rPr lang="nl-BE" sz="2400" b="1">
                <a:solidFill>
                  <a:schemeClr val="bg1"/>
                </a:solidFill>
              </a:rPr>
              <a:t>Multi-annual Implementation plan</a:t>
            </a:r>
            <a:endParaRPr lang="en-GB" sz="2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 txBox="1">
            <a:spLocks/>
          </p:cNvSpPr>
          <p:nvPr/>
        </p:nvSpPr>
        <p:spPr bwMode="auto">
          <a:xfrm>
            <a:off x="3203575" y="-26978"/>
            <a:ext cx="48466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15" tIns="45658" rIns="91315" bIns="45658" anchor="ctr"/>
          <a:lstStyle>
            <a:lvl1pPr marL="342900" indent="-342900" defTabSz="4572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r"/>
            <a:r>
              <a:rPr lang="en-GB" sz="2400" b="1" dirty="0">
                <a:solidFill>
                  <a:schemeClr val="bg2"/>
                </a:solidFill>
              </a:rPr>
              <a:t>Overview</a:t>
            </a:r>
          </a:p>
        </p:txBody>
      </p:sp>
      <p:sp>
        <p:nvSpPr>
          <p:cNvPr id="4099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613525" y="6365879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163" indent="-285448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1789" indent="-228355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598505" indent="-228355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5221" indent="-228355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1936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68652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5367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2082" indent="-2283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B22B21B0-965A-4FD0-9A36-9B702D6AFBA5}" type="slidenum">
              <a:rPr lang="en-US">
                <a:solidFill>
                  <a:srgbClr val="898989"/>
                </a:solidFill>
                <a:latin typeface="Calibri" pitchFamily="34" charset="0"/>
              </a:rPr>
              <a:pPr eaLnBrk="1" hangingPunct="1"/>
              <a:t>6</a:t>
            </a:fld>
            <a:endParaRPr lang="en-US">
              <a:solidFill>
                <a:srgbClr val="898989"/>
              </a:solidFill>
              <a:latin typeface="Calibri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379687"/>
              </p:ext>
            </p:extLst>
          </p:nvPr>
        </p:nvGraphicFramePr>
        <p:xfrm>
          <a:off x="426079" y="2245369"/>
          <a:ext cx="8514720" cy="438063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tableStyleId>{5C22544A-7EE6-4342-B048-85BDC9FD1C3A}</a:tableStyleId>
              </a:tblPr>
              <a:tblGrid>
                <a:gridCol w="851472"/>
                <a:gridCol w="851472"/>
                <a:gridCol w="851472"/>
                <a:gridCol w="851472"/>
                <a:gridCol w="851472"/>
                <a:gridCol w="851472"/>
                <a:gridCol w="851472"/>
                <a:gridCol w="851472"/>
                <a:gridCol w="851472"/>
                <a:gridCol w="851472"/>
              </a:tblGrid>
              <a:tr h="419598"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/>
                        <a:t>2008</a:t>
                      </a:r>
                      <a:endParaRPr lang="en-GB" sz="1400" b="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/>
                        <a:t>2009</a:t>
                      </a:r>
                      <a:endParaRPr lang="en-GB" sz="1400" b="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/>
                        <a:t>2010</a:t>
                      </a:r>
                      <a:endParaRPr lang="en-GB" sz="1400" b="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/>
                        <a:t>2011</a:t>
                      </a:r>
                      <a:endParaRPr lang="en-GB" sz="1400" b="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/>
                        <a:t>2012</a:t>
                      </a:r>
                      <a:endParaRPr lang="en-GB" sz="1400" b="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/>
                        <a:t>2013</a:t>
                      </a:r>
                      <a:endParaRPr lang="en-GB" sz="1400" b="1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/>
                        <a:t>2014</a:t>
                      </a:r>
                      <a:endParaRPr lang="en-GB" sz="1400" b="1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/>
                        <a:t>2015</a:t>
                      </a:r>
                      <a:endParaRPr lang="en-GB" sz="1400" b="1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/>
                        <a:t>2016</a:t>
                      </a:r>
                      <a:endParaRPr lang="en-GB" sz="1400" b="1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/>
                        <a:t>2017</a:t>
                      </a:r>
                      <a:endParaRPr lang="en-GB" sz="1400" b="1" dirty="0"/>
                    </a:p>
                  </a:txBody>
                  <a:tcPr marL="91439" marR="91439" marT="45722" marB="45722"/>
                </a:tc>
              </a:tr>
              <a:tr h="718109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</a:tr>
              <a:tr h="607041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</a:tr>
              <a:tr h="1917777"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</a:tr>
              <a:tr h="718109"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9" marR="91439" marT="45722" marB="45722"/>
                </a:tc>
              </a:tr>
            </a:tbl>
          </a:graphicData>
        </a:graphic>
      </p:graphicFrame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42913" y="2773373"/>
            <a:ext cx="460375" cy="28733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35963" tIns="45671" rIns="35963" bIns="45671" anchor="ctr"/>
          <a:lstStyle/>
          <a:p>
            <a:pPr algn="ctr">
              <a:defRPr/>
            </a:pPr>
            <a:r>
              <a:rPr lang="en-GB" sz="800" dirty="0">
                <a:solidFill>
                  <a:schemeClr val="lt1"/>
                </a:solidFill>
                <a:latin typeface="Arial Narrow"/>
                <a:ea typeface="+mn-ea"/>
                <a:cs typeface="Arial Narrow"/>
              </a:rPr>
              <a:t>Council</a:t>
            </a:r>
          </a:p>
          <a:p>
            <a:pPr algn="ctr">
              <a:defRPr/>
            </a:pPr>
            <a:r>
              <a:rPr lang="en-GB" sz="800" dirty="0">
                <a:solidFill>
                  <a:schemeClr val="lt1"/>
                </a:solidFill>
                <a:latin typeface="Arial Narrow"/>
                <a:ea typeface="+mn-ea"/>
                <a:cs typeface="Arial Narrow"/>
              </a:rPr>
              <a:t>regulation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282960" y="2751148"/>
            <a:ext cx="434975" cy="301625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35963" tIns="45671" rIns="35963" bIns="45671" anchor="ctr"/>
          <a:lstStyle/>
          <a:p>
            <a:pPr algn="ctr">
              <a:defRPr/>
            </a:pPr>
            <a:r>
              <a:rPr lang="en-GB" sz="800" dirty="0">
                <a:solidFill>
                  <a:schemeClr val="lt1"/>
                </a:solidFill>
                <a:latin typeface="Arial Narrow"/>
                <a:ea typeface="+mn-ea"/>
                <a:cs typeface="Arial Narrow"/>
              </a:rPr>
              <a:t>Amend- </a:t>
            </a:r>
            <a:r>
              <a:rPr lang="en-GB" sz="800" dirty="0" err="1">
                <a:solidFill>
                  <a:schemeClr val="lt1"/>
                </a:solidFill>
                <a:latin typeface="Arial Narrow"/>
                <a:ea typeface="+mn-ea"/>
                <a:cs typeface="Arial Narrow"/>
              </a:rPr>
              <a:t>ment</a:t>
            </a:r>
            <a:endParaRPr lang="en-GB" sz="800" dirty="0">
              <a:solidFill>
                <a:schemeClr val="lt1"/>
              </a:solidFill>
              <a:latin typeface="Arial Narrow"/>
              <a:ea typeface="+mn-ea"/>
              <a:cs typeface="Arial Narrow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2562225" y="2990850"/>
            <a:ext cx="328613" cy="290513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35963" tIns="45671" rIns="35963" bIns="45671" anchor="ctr"/>
          <a:lstStyle/>
          <a:p>
            <a:pPr algn="ctr">
              <a:defRPr/>
            </a:pPr>
            <a:r>
              <a:rPr lang="en-GB" sz="800" dirty="0">
                <a:solidFill>
                  <a:schemeClr val="lt1"/>
                </a:solidFill>
                <a:latin typeface="Arial Narrow"/>
                <a:ea typeface="+mn-ea"/>
                <a:cs typeface="Arial Narrow"/>
              </a:rPr>
              <a:t>Auto-</a:t>
            </a:r>
            <a:r>
              <a:rPr lang="en-GB" sz="800" dirty="0" err="1">
                <a:solidFill>
                  <a:schemeClr val="lt1"/>
                </a:solidFill>
                <a:latin typeface="Arial Narrow"/>
                <a:ea typeface="+mn-ea"/>
                <a:cs typeface="Arial Narrow"/>
              </a:rPr>
              <a:t>nomy</a:t>
            </a:r>
            <a:endParaRPr lang="en-GB" sz="800" dirty="0">
              <a:solidFill>
                <a:schemeClr val="lt1"/>
              </a:solidFill>
              <a:latin typeface="Arial Narrow"/>
              <a:ea typeface="+mn-ea"/>
              <a:cs typeface="Arial Narrow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025536" y="4240223"/>
            <a:ext cx="1069975" cy="225425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2008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1700223" y="4527555"/>
            <a:ext cx="1160462" cy="227013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2009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2470150" y="4816485"/>
            <a:ext cx="1160463" cy="227013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2010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3386148" y="5111760"/>
            <a:ext cx="722312" cy="225425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2011</a:t>
            </a: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3814767" y="5400685"/>
            <a:ext cx="735012" cy="227013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2012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4648200" y="5678498"/>
            <a:ext cx="835437" cy="227012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</a:t>
            </a:r>
            <a:r>
              <a:rPr lang="en-GB" sz="1000" dirty="0" smtClean="0">
                <a:solidFill>
                  <a:schemeClr val="lt1"/>
                </a:solidFill>
                <a:latin typeface="+mn-lt"/>
                <a:ea typeface="+mn-ea"/>
              </a:rPr>
              <a:t>2013-1</a:t>
            </a:r>
            <a:endParaRPr lang="en-GB" sz="1000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2100273" y="4241800"/>
            <a:ext cx="2827997" cy="2270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50000">
                <a:srgbClr val="3F80CD"/>
              </a:gs>
              <a:gs pos="75000">
                <a:srgbClr val="3F80CD"/>
              </a:gs>
              <a:gs pos="100000">
                <a:srgbClr val="9BC1FF"/>
              </a:gs>
            </a:gsLst>
            <a:lin ang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16  Projects</a:t>
            </a: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2862263" y="4527555"/>
            <a:ext cx="3325812" cy="2270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50000">
                <a:srgbClr val="3F80CD"/>
              </a:gs>
              <a:gs pos="75000">
                <a:srgbClr val="3F80CD"/>
              </a:gs>
              <a:gs pos="100000">
                <a:srgbClr val="9BC1FF"/>
              </a:gs>
            </a:gsLst>
            <a:lin ang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28 Projects</a:t>
            </a: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3630613" y="4813300"/>
            <a:ext cx="3325812" cy="2270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50000">
                <a:srgbClr val="3F80CD"/>
              </a:gs>
              <a:gs pos="75000">
                <a:srgbClr val="3F80CD"/>
              </a:gs>
              <a:gs pos="100000">
                <a:srgbClr val="9BC1FF"/>
              </a:gs>
            </a:gsLst>
            <a:lin ang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26 Projects</a:t>
            </a: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4113223" y="5111760"/>
            <a:ext cx="3325812" cy="2270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50000">
                <a:srgbClr val="3F80CD"/>
              </a:gs>
              <a:gs pos="75000">
                <a:srgbClr val="3F80CD"/>
              </a:gs>
              <a:gs pos="100000">
                <a:srgbClr val="9BC1FF"/>
              </a:gs>
            </a:gsLst>
            <a:lin ang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33 Projects</a:t>
            </a: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4557713" y="5403860"/>
            <a:ext cx="3325812" cy="2270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50000">
                <a:srgbClr val="3F80CD"/>
              </a:gs>
              <a:gs pos="75000">
                <a:srgbClr val="3F80CD"/>
              </a:gs>
              <a:gs pos="100000">
                <a:srgbClr val="9BC1FF"/>
              </a:gs>
            </a:gsLst>
            <a:lin ang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28  Projects</a:t>
            </a: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5483637" y="5678498"/>
            <a:ext cx="3325812" cy="22701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50000">
                <a:srgbClr val="3F80CD"/>
              </a:gs>
              <a:gs pos="75000">
                <a:srgbClr val="3F80CD"/>
              </a:gs>
              <a:gs pos="100000">
                <a:srgbClr val="9BC1FF"/>
              </a:gs>
            </a:gsLst>
            <a:lin ang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 smtClean="0">
                <a:solidFill>
                  <a:schemeClr val="lt1"/>
                </a:solidFill>
                <a:latin typeface="+mn-lt"/>
                <a:ea typeface="+mn-ea"/>
              </a:rPr>
              <a:t>21 </a:t>
            </a: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Projects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442913" y="2724820"/>
            <a:ext cx="5040724" cy="619125"/>
          </a:xfrm>
          <a:prstGeom prst="rect">
            <a:avLst/>
          </a:prstGeom>
          <a:noFill/>
          <a:ln w="9525">
            <a:solidFill>
              <a:srgbClr val="948A54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/>
        </p:spPr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660410" y="3200400"/>
            <a:ext cx="415925" cy="254000"/>
          </a:xfrm>
          <a:prstGeom prst="rect">
            <a:avLst/>
          </a:prstGeom>
          <a:solidFill>
            <a:srgbClr val="D9D9D9"/>
          </a:solidFill>
          <a:ln w="9525">
            <a:solidFill>
              <a:srgbClr val="948A54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rgbClr val="17375E"/>
                </a:solidFill>
                <a:latin typeface="+mn-lt"/>
                <a:ea typeface="+mn-ea"/>
              </a:rPr>
              <a:t>FP7</a:t>
            </a: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486400" y="2713048"/>
            <a:ext cx="3454400" cy="619125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/>
        </p:spPr>
        <p:txBody>
          <a:bodyPr lIns="91344" tIns="45671" rIns="91344" bIns="45671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5486410" y="2560638"/>
            <a:ext cx="3454399" cy="293687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rgbClr val="17375E"/>
                </a:solidFill>
                <a:latin typeface="+mn-lt"/>
                <a:ea typeface="+mn-ea"/>
              </a:rPr>
              <a:t>Horizon 2020</a:t>
            </a:r>
          </a:p>
        </p:txBody>
      </p:sp>
      <p:sp>
        <p:nvSpPr>
          <p:cNvPr id="37" name="Rectangle 36"/>
          <p:cNvSpPr>
            <a:spLocks noChangeArrowheads="1"/>
          </p:cNvSpPr>
          <p:nvPr/>
        </p:nvSpPr>
        <p:spPr bwMode="auto">
          <a:xfrm>
            <a:off x="2162979" y="5937250"/>
            <a:ext cx="1398588" cy="20955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35963" tIns="46751" rIns="35963" bIns="4675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r powertrain study</a:t>
            </a:r>
          </a:p>
        </p:txBody>
      </p: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3159919" y="6197301"/>
            <a:ext cx="1022350" cy="193675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35963" tIns="46751" rIns="35963" bIns="4675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Bus  study</a:t>
            </a: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auto">
          <a:xfrm>
            <a:off x="3992810" y="6434155"/>
            <a:ext cx="1150937" cy="20955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35963" tIns="46751" rIns="35963" bIns="4675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Stationary study</a:t>
            </a:r>
          </a:p>
        </p:txBody>
      </p:sp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5293518" y="2599548"/>
            <a:ext cx="1" cy="4044157"/>
          </a:xfrm>
          <a:prstGeom prst="line">
            <a:avLst/>
          </a:prstGeom>
          <a:noFill/>
          <a:ln w="12700">
            <a:solidFill>
              <a:srgbClr val="823634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/>
        </p:spPr>
      </p:cxn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5293519" y="5905098"/>
            <a:ext cx="1069975" cy="225425"/>
          </a:xfrm>
          <a:prstGeom prst="rect">
            <a:avLst/>
          </a:prstGeom>
          <a:gradFill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5400000" scaled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000" dirty="0">
                <a:solidFill>
                  <a:schemeClr val="lt1"/>
                </a:solidFill>
                <a:latin typeface="+mn-lt"/>
                <a:ea typeface="+mn-ea"/>
              </a:rPr>
              <a:t>Call </a:t>
            </a:r>
            <a:r>
              <a:rPr lang="en-GB" sz="1000" dirty="0" smtClean="0">
                <a:solidFill>
                  <a:schemeClr val="lt1"/>
                </a:solidFill>
                <a:latin typeface="+mn-lt"/>
                <a:ea typeface="+mn-ea"/>
              </a:rPr>
              <a:t>2013-2</a:t>
            </a:r>
            <a:endParaRPr lang="en-GB" sz="1000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6363494" y="5905098"/>
            <a:ext cx="2445955" cy="209550"/>
          </a:xfrm>
          <a:prstGeom prst="rect">
            <a:avLst/>
          </a:prstGeom>
          <a:gradFill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lIns="91344" tIns="45671" rIns="91344" bIns="45671" anchor="ctr"/>
          <a:lstStyle/>
          <a:p>
            <a:pPr algn="ctr">
              <a:defRPr/>
            </a:pP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?</a:t>
            </a:r>
            <a:r>
              <a:rPr lang="en-GB" sz="1600" b="1" dirty="0" smtClean="0">
                <a:solidFill>
                  <a:schemeClr val="lt1"/>
                </a:solidFill>
                <a:latin typeface="+mn-lt"/>
                <a:ea typeface="+mn-ea"/>
              </a:rPr>
              <a:t> </a:t>
            </a:r>
            <a:r>
              <a:rPr lang="en-GB" sz="1600" b="1" dirty="0">
                <a:solidFill>
                  <a:schemeClr val="lt1"/>
                </a:solidFill>
                <a:latin typeface="+mn-lt"/>
                <a:ea typeface="+mn-ea"/>
              </a:rPr>
              <a:t>Projects</a:t>
            </a:r>
          </a:p>
        </p:txBody>
      </p:sp>
    </p:spTree>
    <p:extLst>
      <p:ext uri="{BB962C8B-B14F-4D97-AF65-F5344CB8AC3E}">
        <p14:creationId xmlns:p14="http://schemas.microsoft.com/office/powerpoint/2010/main" val="243982582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488745" y="183903"/>
            <a:ext cx="7477125" cy="784225"/>
          </a:xfrm>
        </p:spPr>
        <p:txBody>
          <a:bodyPr/>
          <a:lstStyle/>
          <a:p>
            <a:pPr algn="ctr"/>
            <a:r>
              <a:rPr lang="nl-BE" sz="2400" dirty="0" smtClean="0"/>
              <a:t>FCH JU </a:t>
            </a:r>
            <a:r>
              <a:rPr lang="nl-BE" sz="2400" dirty="0" err="1" smtClean="0"/>
              <a:t>contributions</a:t>
            </a:r>
            <a:r>
              <a:rPr lang="nl-BE" sz="2400" dirty="0" smtClean="0"/>
              <a:t> per call </a:t>
            </a:r>
            <a:r>
              <a:rPr lang="nl-BE" sz="2400" dirty="0" err="1" smtClean="0"/>
              <a:t>and</a:t>
            </a:r>
            <a:r>
              <a:rPr lang="nl-BE" sz="2400" dirty="0" smtClean="0"/>
              <a:t> </a:t>
            </a:r>
            <a:r>
              <a:rPr lang="nl-BE" sz="2400" dirty="0" err="1" smtClean="0"/>
              <a:t>activity</a:t>
            </a:r>
            <a:r>
              <a:rPr lang="nl-BE" sz="2400" dirty="0" smtClean="0"/>
              <a:t> area</a:t>
            </a:r>
            <a:br>
              <a:rPr lang="nl-BE" sz="2400" dirty="0" smtClean="0"/>
            </a:br>
            <a:r>
              <a:rPr lang="nl-BE" sz="2400" dirty="0" smtClean="0"/>
              <a:t>(in €)</a:t>
            </a:r>
            <a:br>
              <a:rPr lang="nl-BE" sz="2400" dirty="0" smtClean="0"/>
            </a:br>
            <a:endParaRPr lang="en-GB" sz="2400" dirty="0" smtClean="0">
              <a:solidFill>
                <a:srgbClr val="FF0000"/>
              </a:solidFill>
            </a:endParaRPr>
          </a:p>
        </p:txBody>
      </p:sp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228" y="3651663"/>
            <a:ext cx="23622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3499210"/>
              </p:ext>
            </p:extLst>
          </p:nvPr>
        </p:nvGraphicFramePr>
        <p:xfrm>
          <a:off x="255319" y="1653639"/>
          <a:ext cx="5777345" cy="4949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70944" y="115331"/>
            <a:ext cx="7477125" cy="1143000"/>
          </a:xfrm>
        </p:spPr>
        <p:txBody>
          <a:bodyPr/>
          <a:lstStyle/>
          <a:p>
            <a:r>
              <a:rPr lang="nl-BE" sz="3200" dirty="0" smtClean="0"/>
              <a:t>Multi-</a:t>
            </a:r>
            <a:r>
              <a:rPr lang="nl-BE" sz="3200" dirty="0" err="1" smtClean="0"/>
              <a:t>annual</a:t>
            </a:r>
            <a:r>
              <a:rPr lang="nl-BE" sz="3200" dirty="0" smtClean="0"/>
              <a:t> </a:t>
            </a:r>
            <a:r>
              <a:rPr lang="nl-BE" sz="3200" dirty="0" err="1" smtClean="0"/>
              <a:t>Implementation</a:t>
            </a:r>
            <a:r>
              <a:rPr lang="nl-BE" sz="3200" dirty="0" smtClean="0"/>
              <a:t> Plan </a:t>
            </a:r>
            <a:r>
              <a:rPr lang="nl-BE" sz="3200" dirty="0" err="1" smtClean="0"/>
              <a:t>coverage</a:t>
            </a:r>
            <a:endParaRPr lang="nl-BE" sz="3200" dirty="0">
              <a:solidFill>
                <a:srgbClr val="FF0000"/>
              </a:solidFill>
            </a:endParaRPr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08142"/>
            <a:ext cx="2929739" cy="2490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61145" y="1454128"/>
            <a:ext cx="1009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b="1" dirty="0" smtClean="0"/>
              <a:t>Transport</a:t>
            </a:r>
            <a:endParaRPr lang="nl-BE" sz="1400" b="1" dirty="0"/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9739" y="1795553"/>
            <a:ext cx="2975009" cy="2515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75" y="1797933"/>
            <a:ext cx="2938471" cy="2513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3626425" y="1438810"/>
            <a:ext cx="2013693" cy="307777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r>
              <a:rPr lang="nl-BE" sz="1400" b="1" dirty="0" err="1" smtClean="0"/>
              <a:t>Hydrogen</a:t>
            </a:r>
            <a:r>
              <a:rPr lang="nl-BE" sz="1400" b="1" dirty="0" smtClean="0"/>
              <a:t> </a:t>
            </a:r>
            <a:r>
              <a:rPr lang="nl-BE" sz="1400" b="1" dirty="0" err="1" smtClean="0"/>
              <a:t>Production</a:t>
            </a:r>
            <a:endParaRPr lang="nl-BE" sz="1400" b="1" dirty="0"/>
          </a:p>
        </p:txBody>
      </p:sp>
      <p:sp>
        <p:nvSpPr>
          <p:cNvPr id="5" name="Rectangle 4"/>
          <p:cNvSpPr/>
          <p:nvPr/>
        </p:nvSpPr>
        <p:spPr>
          <a:xfrm>
            <a:off x="6536258" y="1438810"/>
            <a:ext cx="2175339" cy="307777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r>
              <a:rPr lang="nl-BE" sz="1400" b="1" dirty="0" err="1" smtClean="0"/>
              <a:t>Stationary</a:t>
            </a:r>
            <a:r>
              <a:rPr lang="nl-BE" sz="1400" b="1" dirty="0" smtClean="0"/>
              <a:t> Applications</a:t>
            </a:r>
            <a:endParaRPr lang="nl-BE" sz="1400" b="1" dirty="0"/>
          </a:p>
        </p:txBody>
      </p:sp>
      <p:pic>
        <p:nvPicPr>
          <p:cNvPr id="4096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038" y="4769398"/>
            <a:ext cx="2270220" cy="2088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994123" y="4461621"/>
            <a:ext cx="135005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BE" sz="1400" b="1" dirty="0" err="1" smtClean="0"/>
              <a:t>Early</a:t>
            </a:r>
            <a:r>
              <a:rPr lang="nl-BE" sz="1400" b="1" dirty="0" smtClean="0"/>
              <a:t> Markets</a:t>
            </a:r>
            <a:endParaRPr lang="nl-BE" sz="1400" dirty="0"/>
          </a:p>
        </p:txBody>
      </p:sp>
      <p:pic>
        <p:nvPicPr>
          <p:cNvPr id="4096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243" y="4769399"/>
            <a:ext cx="2304921" cy="2088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4966696" y="4461620"/>
            <a:ext cx="13468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BE" sz="1400" b="1" dirty="0" smtClean="0"/>
              <a:t>Cross-</a:t>
            </a:r>
            <a:r>
              <a:rPr lang="nl-BE" sz="1400" b="1" dirty="0" err="1" smtClean="0"/>
              <a:t>cutting</a:t>
            </a:r>
            <a:endParaRPr lang="nl-BE" sz="14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279" y="4538663"/>
            <a:ext cx="1285875" cy="221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679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4"/>
          <p:cNvSpPr>
            <a:spLocks noGrp="1"/>
          </p:cNvSpPr>
          <p:nvPr>
            <p:ph type="title"/>
          </p:nvPr>
        </p:nvSpPr>
        <p:spPr>
          <a:xfrm>
            <a:off x="1797059" y="0"/>
            <a:ext cx="7346951" cy="668853"/>
          </a:xfrm>
        </p:spPr>
        <p:txBody>
          <a:bodyPr/>
          <a:lstStyle/>
          <a:p>
            <a:r>
              <a:rPr lang="nl-BE" sz="2800" dirty="0"/>
              <a:t>Programme participation per </a:t>
            </a:r>
            <a:r>
              <a:rPr lang="nl-BE" sz="2800" dirty="0" smtClean="0"/>
              <a:t>country</a:t>
            </a:r>
            <a:endParaRPr lang="en-GB" sz="2800" dirty="0">
              <a:solidFill>
                <a:srgbClr val="FF0000"/>
              </a:solidFill>
            </a:endParaRPr>
          </a:p>
        </p:txBody>
      </p:sp>
      <p:sp>
        <p:nvSpPr>
          <p:cNvPr id="14340" name="TextBox 1"/>
          <p:cNvSpPr txBox="1">
            <a:spLocks noChangeArrowheads="1"/>
          </p:cNvSpPr>
          <p:nvPr/>
        </p:nvSpPr>
        <p:spPr bwMode="auto">
          <a:xfrm>
            <a:off x="6227763" y="1504959"/>
            <a:ext cx="1110442" cy="249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44" tIns="45671" rIns="91344" bIns="4567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nl-BE" sz="1000"/>
              <a:t>United Kingdom</a:t>
            </a:r>
            <a:endParaRPr lang="en-GB" sz="1000"/>
          </a:p>
        </p:txBody>
      </p:sp>
      <p:graphicFrame>
        <p:nvGraphicFramePr>
          <p:cNvPr id="5" name="Char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59593"/>
              </p:ext>
            </p:extLst>
          </p:nvPr>
        </p:nvGraphicFramePr>
        <p:xfrm>
          <a:off x="106878" y="716354"/>
          <a:ext cx="9144000" cy="6163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00043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SvsykuXUO1iXYoegDiH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SvsykuXUO1iXYoegDi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rkwg1yREa8Qgj2TZ7ZW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szrdCep0uOuwLSuVlg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FgMutyDUSC1M_DbjMl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H5XuNfR0KL0ttzcUqC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6skXreNk.hB.IvU5su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Uuv.mihUi.fF_XVau_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tnaZ6fHEOKQ1toTEvX1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rkwg1yREa8Qgj2TZ7ZW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szrdCep0uOuwLSuVlgZ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TjnIqXUKvZmnL0AE3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CKiz8PE2uJt5wxags_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r2RSxr4UqDNJOOKFpcu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F2bGbjrEqkLEXxmF51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m5rJu_REqmO1vWXPCt2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nHUYvNkuOqooAeJPw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FgMutyDUSC1M_DbjMlN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f1P6kEBEKnowOelj2qP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DE1qCbCEu7if9EmSTFV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JTsi.Xy0GREpEDleLOY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tIaSZ18Eqi7n8YQcXJA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zUWzSqF0SVp6Bm2KqRx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TG8DIJTkKkKeNlkxdOa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JpmhrygkeXzTNlax4ut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.ZPpNKtkCpORjMIwaE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H5XuNfR0KL0ttzcUqC8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aPrrlnDE2E33FZ2.bej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ClxM2qJkmTBSVBr9nq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6lW_YCH0u7_vaBEHv6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FnlLed.kWeqMEFek6I_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Un8sNRUOKNIgX8wWu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SvsykuXUO1iXYoegDiH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rkwg1yREa8Qgj2TZ7Z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szrdCep0uOuwLSuVlg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FgMutyDUSC1M_DbjMlN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H5XuNfR0KL0ttzcUqC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6skXreNk.hB.IvU5su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6skXreNk.hB.IvU5su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Uuv.mihUi.fF_XVau_8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tnaZ6fHEOKQ1toTEvX1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Uuv.mihUi.fF_XVau_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TjnIqXUKvZmnL0AE3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tnaZ6fHEOKQ1toTEvX1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CKiz8PE2uJt5wxags_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r2RSxr4UqDNJOOKFpcu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F2bGbjrEqkLEXxmF51o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m5rJu_REqmO1vWXPCt2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nHUYvNkuOqooAeJPwn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f1P6kEBEKnowOelj2qP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DE1qCbCEu7if9EmSTF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JTsi.Xy0GREpEDleLOY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tIaSZ18Eqi7n8YQcXJ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zUWzSqF0SVp6Bm2KqR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TG8DIJTkKkKeNlkxdO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JpmhrygkeXzTNlax4u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TjnIqXUKvZmnL0AE3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CKiz8PE2uJt5wxags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r2RSxr4UqDNJOOKFpc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F2bGbjrEqkLEXxmF51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m5rJu_REqmO1vWXPCt2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nHUYvNkuOqooAeJPw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.ZPpNKtkCpORjMIwaE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f1P6kEBEKnowOelj2q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DE1qCbCEu7if9EmSTF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JTsi.Xy0GREpEDleLO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tIaSZ18Eqi7n8YQcXJ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zUWzSqF0SVp6Bm2KqR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TG8DIJTkKkKeNlkxdO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JpmhrygkeXzTNlax4u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.ZPpNKtkCpORjMIwaE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aPrrlnDE2E33FZ2.be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aPrrlnDE2E33FZ2.be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ClxM2qJkmTBSVBr9nq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6lW_YCH0u7_vaBEHv6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FnlLed.kWeqMEFek6I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Un8sNRUOKNIgX8wWu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SvsykuXUO1iXYoegDi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rkwg1yREa8Qgj2TZ7Z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szrdCep0uOuwLSuVlg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FgMutyDUSC1M_DbjMl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H5XuNfR0KL0ttzcUqC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ClxM2qJkmTBSVBr9nqs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6skXreNk.hB.IvU5su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Uuv.mihUi.fF_XVau_8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tnaZ6fHEOKQ1toTEvX1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6lW_YCH0u7_vaBEHv6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TjnIqXUKvZmnL0AE3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FnlLed.kWeqMEFek6I_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CKiz8PE2uJt5wxags_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r2RSxr4UqDNJOOKFpc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F2bGbjrEqkLEXxmF51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m5rJu_REqmO1vWXPCt2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nHUYvNkuOqooAeJPw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f1P6kEBEKnowOelj2q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DE1qCbCEu7if9EmSTF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JTsi.Xy0GREpEDleLO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tIaSZ18Eqi7n8YQcXJ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Un8sNRUOKNIgX8wWu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zUWzSqF0SVp6Bm2KqR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TG8DIJTkKkKeNlkxdO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JpmhrygkeXzTNlax4u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.ZPpNKtkCpORjMIwaE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aPrrlnDE2E33FZ2.be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ClxM2qJkmTBSVBr9nq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6lW_YCH0u7_vaBEHv6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FnlLed.kWeqMEFek6I_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Un8sNRUOKNIgX8wWukQ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Theme">
      <a:majorFont>
        <a:latin typeface="Arial"/>
        <a:ea typeface="ヒラギノ角ゴ Pro W3"/>
        <a:cs typeface="Arial"/>
      </a:majorFont>
      <a:minorFont>
        <a:latin typeface="Arial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FCH JU_CF_HEV008">
  <a:themeElements>
    <a:clrScheme name="Current">
      <a:dk1>
        <a:srgbClr val="000000"/>
      </a:dk1>
      <a:lt1>
        <a:srgbClr val="FFFFFF"/>
      </a:lt1>
      <a:dk2>
        <a:srgbClr val="0C5EA7"/>
      </a:dk2>
      <a:lt2>
        <a:srgbClr val="FFFFFF"/>
      </a:lt2>
      <a:accent1>
        <a:srgbClr val="D1F8BA"/>
      </a:accent1>
      <a:accent2>
        <a:srgbClr val="48A611"/>
      </a:accent2>
      <a:accent3>
        <a:srgbClr val="0C5EA7"/>
      </a:accent3>
      <a:accent4>
        <a:srgbClr val="052A4B"/>
      </a:accent4>
      <a:accent5>
        <a:srgbClr val="FF6600"/>
      </a:accent5>
      <a:accent6>
        <a:srgbClr val="808080"/>
      </a:accent6>
      <a:hlink>
        <a:srgbClr val="0C5EA7"/>
      </a:hlink>
      <a:folHlink>
        <a:srgbClr val="052A4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C5EA7"/>
        </a:dk2>
        <a:lt2>
          <a:srgbClr val="FFFFFF"/>
        </a:lt2>
        <a:accent1>
          <a:srgbClr val="D1F8BA"/>
        </a:accent1>
        <a:accent2>
          <a:srgbClr val="48A611"/>
        </a:accent2>
        <a:accent3>
          <a:srgbClr val="0C5EA7"/>
        </a:accent3>
        <a:accent4>
          <a:srgbClr val="052A4B"/>
        </a:accent4>
        <a:accent5>
          <a:srgbClr val="FF6600"/>
        </a:accent5>
        <a:accent6>
          <a:srgbClr val="808080"/>
        </a:accent6>
        <a:hlink>
          <a:srgbClr val="0C5EA7"/>
        </a:hlink>
        <a:folHlink>
          <a:srgbClr val="052A4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CH JU_CF_HEV008">
  <a:themeElements>
    <a:clrScheme name="Current">
      <a:dk1>
        <a:srgbClr val="000000"/>
      </a:dk1>
      <a:lt1>
        <a:srgbClr val="FFFFFF"/>
      </a:lt1>
      <a:dk2>
        <a:srgbClr val="0C5EA7"/>
      </a:dk2>
      <a:lt2>
        <a:srgbClr val="FFFFFF"/>
      </a:lt2>
      <a:accent1>
        <a:srgbClr val="D1F8BA"/>
      </a:accent1>
      <a:accent2>
        <a:srgbClr val="48A611"/>
      </a:accent2>
      <a:accent3>
        <a:srgbClr val="0C5EA7"/>
      </a:accent3>
      <a:accent4>
        <a:srgbClr val="052A4B"/>
      </a:accent4>
      <a:accent5>
        <a:srgbClr val="FF6600"/>
      </a:accent5>
      <a:accent6>
        <a:srgbClr val="808080"/>
      </a:accent6>
      <a:hlink>
        <a:srgbClr val="0C5EA7"/>
      </a:hlink>
      <a:folHlink>
        <a:srgbClr val="052A4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C5EA7"/>
        </a:dk2>
        <a:lt2>
          <a:srgbClr val="FFFFFF"/>
        </a:lt2>
        <a:accent1>
          <a:srgbClr val="D1F8BA"/>
        </a:accent1>
        <a:accent2>
          <a:srgbClr val="48A611"/>
        </a:accent2>
        <a:accent3>
          <a:srgbClr val="0C5EA7"/>
        </a:accent3>
        <a:accent4>
          <a:srgbClr val="052A4B"/>
        </a:accent4>
        <a:accent5>
          <a:srgbClr val="FF6600"/>
        </a:accent5>
        <a:accent6>
          <a:srgbClr val="808080"/>
        </a:accent6>
        <a:hlink>
          <a:srgbClr val="0C5EA7"/>
        </a:hlink>
        <a:folHlink>
          <a:srgbClr val="052A4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CH JU_CF_HEV008">
  <a:themeElements>
    <a:clrScheme name="Current">
      <a:dk1>
        <a:srgbClr val="000000"/>
      </a:dk1>
      <a:lt1>
        <a:srgbClr val="FFFFFF"/>
      </a:lt1>
      <a:dk2>
        <a:srgbClr val="0C5EA7"/>
      </a:dk2>
      <a:lt2>
        <a:srgbClr val="FFFFFF"/>
      </a:lt2>
      <a:accent1>
        <a:srgbClr val="D1F8BA"/>
      </a:accent1>
      <a:accent2>
        <a:srgbClr val="48A611"/>
      </a:accent2>
      <a:accent3>
        <a:srgbClr val="0C5EA7"/>
      </a:accent3>
      <a:accent4>
        <a:srgbClr val="052A4B"/>
      </a:accent4>
      <a:accent5>
        <a:srgbClr val="FF6600"/>
      </a:accent5>
      <a:accent6>
        <a:srgbClr val="808080"/>
      </a:accent6>
      <a:hlink>
        <a:srgbClr val="0C5EA7"/>
      </a:hlink>
      <a:folHlink>
        <a:srgbClr val="052A4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C5EA7"/>
        </a:dk2>
        <a:lt2>
          <a:srgbClr val="FFFFFF"/>
        </a:lt2>
        <a:accent1>
          <a:srgbClr val="D1F8BA"/>
        </a:accent1>
        <a:accent2>
          <a:srgbClr val="48A611"/>
        </a:accent2>
        <a:accent3>
          <a:srgbClr val="0C5EA7"/>
        </a:accent3>
        <a:accent4>
          <a:srgbClr val="052A4B"/>
        </a:accent4>
        <a:accent5>
          <a:srgbClr val="FF6600"/>
        </a:accent5>
        <a:accent6>
          <a:srgbClr val="808080"/>
        </a:accent6>
        <a:hlink>
          <a:srgbClr val="0C5EA7"/>
        </a:hlink>
        <a:folHlink>
          <a:srgbClr val="052A4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CH JU_CF_HEV008">
  <a:themeElements>
    <a:clrScheme name="Current">
      <a:dk1>
        <a:srgbClr val="000000"/>
      </a:dk1>
      <a:lt1>
        <a:srgbClr val="FFFFFF"/>
      </a:lt1>
      <a:dk2>
        <a:srgbClr val="0C5EA7"/>
      </a:dk2>
      <a:lt2>
        <a:srgbClr val="FFFFFF"/>
      </a:lt2>
      <a:accent1>
        <a:srgbClr val="D1F8BA"/>
      </a:accent1>
      <a:accent2>
        <a:srgbClr val="48A611"/>
      </a:accent2>
      <a:accent3>
        <a:srgbClr val="0C5EA7"/>
      </a:accent3>
      <a:accent4>
        <a:srgbClr val="052A4B"/>
      </a:accent4>
      <a:accent5>
        <a:srgbClr val="FF6600"/>
      </a:accent5>
      <a:accent6>
        <a:srgbClr val="808080"/>
      </a:accent6>
      <a:hlink>
        <a:srgbClr val="0C5EA7"/>
      </a:hlink>
      <a:folHlink>
        <a:srgbClr val="052A4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C5EA7"/>
        </a:dk2>
        <a:lt2>
          <a:srgbClr val="FFFFFF"/>
        </a:lt2>
        <a:accent1>
          <a:srgbClr val="D1F8BA"/>
        </a:accent1>
        <a:accent2>
          <a:srgbClr val="48A611"/>
        </a:accent2>
        <a:accent3>
          <a:srgbClr val="0C5EA7"/>
        </a:accent3>
        <a:accent4>
          <a:srgbClr val="052A4B"/>
        </a:accent4>
        <a:accent5>
          <a:srgbClr val="FF6600"/>
        </a:accent5>
        <a:accent6>
          <a:srgbClr val="808080"/>
        </a:accent6>
        <a:hlink>
          <a:srgbClr val="0C5EA7"/>
        </a:hlink>
        <a:folHlink>
          <a:srgbClr val="052A4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CH JU for JUs v3.0</Template>
  <TotalTime>4205</TotalTime>
  <Words>489</Words>
  <Application>Microsoft Office PowerPoint</Application>
  <PresentationFormat>On-screen Show (4:3)</PresentationFormat>
  <Paragraphs>128</Paragraphs>
  <Slides>17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Office Theme</vt:lpstr>
      <vt:lpstr>1_Office Theme</vt:lpstr>
      <vt:lpstr>FCH JU_CF_HEV008</vt:lpstr>
      <vt:lpstr>1_FCH JU_CF_HEV008</vt:lpstr>
      <vt:lpstr>2_FCH JU_CF_HEV008</vt:lpstr>
      <vt:lpstr>3_FCH JU_CF_HEV008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CH JU contributions per call and activity area (in €) </vt:lpstr>
      <vt:lpstr>Multi-annual Implementation Plan coverage</vt:lpstr>
      <vt:lpstr>Programme participation per country</vt:lpstr>
      <vt:lpstr>Membership of the participants</vt:lpstr>
      <vt:lpstr>Calls 2008 - 2012</vt:lpstr>
      <vt:lpstr>Geographic origin of the participants</vt:lpstr>
      <vt:lpstr>2013 Program Review Days</vt:lpstr>
      <vt:lpstr>Agenda Day 1</vt:lpstr>
      <vt:lpstr>Agenda Day 2 a.m.</vt:lpstr>
      <vt:lpstr>Agenda Day 2 p.m.</vt:lpstr>
      <vt:lpstr>PowerPoint Presentation</vt:lpstr>
    </vt:vector>
  </TitlesOfParts>
  <Company>Kellen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presentation</dc:title>
  <dc:subject>European Hydrogen &amp; Fuel Cell Week | HFP General Stakeholder Assembly, Exhibition and Drive&amp;Ride</dc:subject>
  <dc:creator>Silvia Vaghi</dc:creator>
  <cp:keywords>HFP, GSA'08, EC, JTI</cp:keywords>
  <cp:lastModifiedBy>MUSOGLU Zeynep ( FCH )</cp:lastModifiedBy>
  <cp:revision>345</cp:revision>
  <cp:lastPrinted>2013-11-04T17:13:33Z</cp:lastPrinted>
  <dcterms:created xsi:type="dcterms:W3CDTF">2008-07-29T15:49:23Z</dcterms:created>
  <dcterms:modified xsi:type="dcterms:W3CDTF">2013-11-14T11:00:55Z</dcterms:modified>
  <cp:category>Presentation</cp:category>
</cp:coreProperties>
</file>